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tags/tag13.xml" ContentType="application/vnd.openxmlformats-officedocument.presentationml.tags+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52" r:id="rId6"/>
    <p:sldMasterId id="2147483775" r:id="rId7"/>
  </p:sldMasterIdLst>
  <p:notesMasterIdLst>
    <p:notesMasterId r:id="rId43"/>
  </p:notesMasterIdLst>
  <p:sldIdLst>
    <p:sldId id="2147469808" r:id="rId8"/>
    <p:sldId id="2147469800" r:id="rId9"/>
    <p:sldId id="2147469715" r:id="rId10"/>
    <p:sldId id="2147469747" r:id="rId11"/>
    <p:sldId id="2147469783" r:id="rId12"/>
    <p:sldId id="2147469806" r:id="rId13"/>
    <p:sldId id="2147469711" r:id="rId14"/>
    <p:sldId id="2147469766" r:id="rId15"/>
    <p:sldId id="2147469751" r:id="rId16"/>
    <p:sldId id="2147469782" r:id="rId17"/>
    <p:sldId id="2147469698" r:id="rId18"/>
    <p:sldId id="2147469767" r:id="rId19"/>
    <p:sldId id="2147469770" r:id="rId20"/>
    <p:sldId id="2147469775" r:id="rId21"/>
    <p:sldId id="2147469812" r:id="rId22"/>
    <p:sldId id="2147469814" r:id="rId23"/>
    <p:sldId id="2147469758" r:id="rId24"/>
    <p:sldId id="2147469774" r:id="rId25"/>
    <p:sldId id="2147469778" r:id="rId26"/>
    <p:sldId id="2147469759" r:id="rId27"/>
    <p:sldId id="2147469787" r:id="rId28"/>
    <p:sldId id="2147469793" r:id="rId29"/>
    <p:sldId id="2147469794" r:id="rId30"/>
    <p:sldId id="2147469797" r:id="rId31"/>
    <p:sldId id="2147469809" r:id="rId32"/>
    <p:sldId id="2147469796" r:id="rId33"/>
    <p:sldId id="2147469807" r:id="rId34"/>
    <p:sldId id="2147469804" r:id="rId35"/>
    <p:sldId id="2147469719" r:id="rId36"/>
    <p:sldId id="2147469799" r:id="rId37"/>
    <p:sldId id="2147469810" r:id="rId38"/>
    <p:sldId id="2147469720" r:id="rId39"/>
    <p:sldId id="2147469722" r:id="rId40"/>
    <p:sldId id="2147469805" r:id="rId41"/>
    <p:sldId id="2147469811"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1AD49"/>
    <a:srgbClr val="D2232A"/>
    <a:srgbClr val="FFF2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29" autoAdjust="0"/>
    <p:restoredTop sz="77062" autoAdjust="0"/>
  </p:normalViewPr>
  <p:slideViewPr>
    <p:cSldViewPr snapToGrid="0">
      <p:cViewPr varScale="1">
        <p:scale>
          <a:sx n="85" d="100"/>
          <a:sy n="85" d="100"/>
        </p:scale>
        <p:origin x="161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8262B6-841B-4F48-9EAF-B66C981728DA}" type="datetimeFigureOut">
              <a:rPr lang="en-GB" smtClean="0"/>
              <a:t>13/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244BF3-AA63-413F-ADDB-AAAC138AC4E8}" type="slidenum">
              <a:rPr lang="en-GB" smtClean="0"/>
              <a:t>‹#›</a:t>
            </a:fld>
            <a:endParaRPr lang="en-GB"/>
          </a:p>
        </p:txBody>
      </p:sp>
    </p:spTree>
    <p:extLst>
      <p:ext uri="{BB962C8B-B14F-4D97-AF65-F5344CB8AC3E}">
        <p14:creationId xmlns:p14="http://schemas.microsoft.com/office/powerpoint/2010/main" val="3606430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74151"/>
                </a:solidFill>
                <a:effectLst/>
                <a:latin typeface="Söhne"/>
              </a:rPr>
              <a:t>Hi Everyon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74151"/>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74151"/>
                </a:solidFill>
                <a:effectLst/>
                <a:latin typeface="Söhne"/>
              </a:rPr>
              <a:t>It’s a pleasure to be with you today. My name is Abimbola, you can call me Bim and I'm excited to present what I have titled …</a:t>
            </a:r>
            <a:endParaRPr lang="en-GB" dirty="0">
              <a:sym typeface="Wingdings" panose="05000000000000000000" pitchFamily="2" charset="2"/>
            </a:endParaRPr>
          </a:p>
          <a:p>
            <a:pPr algn="l"/>
            <a:endParaRPr lang="en-GB" b="0" i="0" dirty="0">
              <a:solidFill>
                <a:srgbClr val="374151"/>
              </a:solidFill>
              <a:effectLst/>
              <a:latin typeface="Söhne"/>
            </a:endParaRPr>
          </a:p>
          <a:p>
            <a:pPr algn="l"/>
            <a:endParaRPr lang="en-GB" b="0" i="0" dirty="0">
              <a:solidFill>
                <a:srgbClr val="374151"/>
              </a:solidFill>
              <a:effectLst/>
              <a:latin typeface="Söhne"/>
            </a:endParaRPr>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220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40C28"/>
                </a:solidFill>
                <a:effectLst/>
                <a:latin typeface="Google Sans"/>
              </a:rPr>
              <a:t>D - Red, Black &amp; Green</a:t>
            </a:r>
          </a:p>
          <a:p>
            <a:pPr algn="l"/>
            <a:endParaRPr lang="en-US" b="0" i="0" dirty="0">
              <a:solidFill>
                <a:srgbClr val="040C28"/>
              </a:solidFill>
              <a:effectLst/>
              <a:latin typeface="Google Sans"/>
            </a:endParaRPr>
          </a:p>
          <a:p>
            <a:pPr algn="l"/>
            <a:r>
              <a:rPr lang="en-US" b="0" i="0" dirty="0">
                <a:solidFill>
                  <a:srgbClr val="0D0D0D"/>
                </a:solidFill>
                <a:effectLst/>
                <a:latin typeface="Söhne"/>
              </a:rPr>
              <a:t>Red signifies the blood uniting people of African descent in their struggle for liberation. </a:t>
            </a:r>
          </a:p>
          <a:p>
            <a:pPr algn="l"/>
            <a:r>
              <a:rPr lang="en-US" b="0" i="0" dirty="0">
                <a:solidFill>
                  <a:srgbClr val="0D0D0D"/>
                </a:solidFill>
                <a:effectLst/>
                <a:latin typeface="Söhne"/>
              </a:rPr>
              <a:t>Black represents black people's contributions to global history and their rich heritage. </a:t>
            </a:r>
          </a:p>
          <a:p>
            <a:pPr algn="l"/>
            <a:r>
              <a:rPr lang="en-US" b="0" i="0" dirty="0">
                <a:solidFill>
                  <a:srgbClr val="0D0D0D"/>
                </a:solidFill>
                <a:effectLst/>
                <a:latin typeface="Söhne"/>
              </a:rPr>
              <a:t>Green symbolizes Africa's fertile land, hope, and the future.</a:t>
            </a:r>
            <a:endParaRPr lang="en-US" b="0" i="0" dirty="0">
              <a:solidFill>
                <a:srgbClr val="040C28"/>
              </a:solidFill>
              <a:effectLst/>
              <a:latin typeface="Google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204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avenir-lt-w01_35-light1475496"/>
              </a:rPr>
              <a:t>What was last year’s (2023) UK Black History Month theme?</a:t>
            </a:r>
          </a:p>
          <a:p>
            <a:endParaRPr lang="en-US" b="0" i="0" dirty="0">
              <a:solidFill>
                <a:srgbClr val="000000"/>
              </a:solidFill>
              <a:effectLst/>
              <a:latin typeface="avenir-lt-w01_35-light1475496"/>
            </a:endParaRPr>
          </a:p>
          <a:p>
            <a:pPr marL="228600" indent="-228600">
              <a:buAutoNum type="alphaLcParenR"/>
            </a:pPr>
            <a:r>
              <a:rPr lang="en-US" b="0" i="0" dirty="0">
                <a:solidFill>
                  <a:srgbClr val="000000"/>
                </a:solidFill>
                <a:effectLst/>
                <a:latin typeface="avenir-lt-w01_35-light1475496"/>
              </a:rPr>
              <a:t>African American Achievements in Science and Technology</a:t>
            </a:r>
          </a:p>
          <a:p>
            <a:pPr marL="228600" indent="-228600">
              <a:buAutoNum type="alphaLcParenR"/>
            </a:pPr>
            <a:r>
              <a:rPr lang="en-US" b="0" i="0" dirty="0">
                <a:solidFill>
                  <a:srgbClr val="000000"/>
                </a:solidFill>
                <a:effectLst/>
                <a:latin typeface="avenir-lt-w01_35-light1475496"/>
              </a:rPr>
              <a:t>Celebrating Our Sisters</a:t>
            </a:r>
          </a:p>
          <a:p>
            <a:pPr marL="228600" indent="-228600">
              <a:buAutoNum type="alphaLcParenR"/>
            </a:pPr>
            <a:r>
              <a:rPr lang="en-US" b="0" i="0" dirty="0">
                <a:solidFill>
                  <a:srgbClr val="000000"/>
                </a:solidFill>
                <a:effectLst/>
                <a:latin typeface="avenir-lt-w01_35-light1475496"/>
              </a:rPr>
              <a:t>The Art and Culture of the African Diaspora</a:t>
            </a:r>
          </a:p>
          <a:p>
            <a:pPr marL="228600" indent="-228600">
              <a:buAutoNum type="alphaLcParenR"/>
            </a:pPr>
            <a:r>
              <a:rPr lang="en-US" b="0" i="0" dirty="0">
                <a:solidFill>
                  <a:srgbClr val="000000"/>
                </a:solidFill>
                <a:effectLst/>
                <a:latin typeface="avenir-lt-w01_35-light1475496"/>
              </a:rPr>
              <a:t>Honoring Black Women's Contributions</a:t>
            </a:r>
          </a:p>
          <a:p>
            <a:pPr marL="228600" indent="-228600">
              <a:buAutoNum type="alphaLcParenR"/>
            </a:pPr>
            <a:r>
              <a:rPr lang="en-US" b="0" i="0" dirty="0">
                <a:solidFill>
                  <a:srgbClr val="000000"/>
                </a:solidFill>
                <a:effectLst/>
                <a:latin typeface="avenir-lt-w01_35-light1475496"/>
              </a:rPr>
              <a:t>Black History in Education and Literature</a:t>
            </a:r>
            <a:endParaRPr lang="en-GB" b="0" i="0" dirty="0">
              <a:solidFill>
                <a:srgbClr val="000000"/>
              </a:solidFill>
              <a:effectLst/>
              <a:latin typeface="avenir-lt-w01_35-light1475496"/>
            </a:endParaRPr>
          </a:p>
          <a:p>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11</a:t>
            </a:fld>
            <a:endParaRPr lang="en-GB"/>
          </a:p>
        </p:txBody>
      </p:sp>
    </p:spTree>
    <p:extLst>
      <p:ext uri="{BB962C8B-B14F-4D97-AF65-F5344CB8AC3E}">
        <p14:creationId xmlns:p14="http://schemas.microsoft.com/office/powerpoint/2010/main" val="1023856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000000"/>
                </a:solidFill>
                <a:effectLst/>
                <a:latin typeface="avenir-lt-w01_35-light1475496"/>
              </a:rPr>
              <a:t>B - Celebrating Our Sisters</a:t>
            </a:r>
          </a:p>
          <a:p>
            <a:pPr algn="l"/>
            <a:endParaRPr lang="en-GB" b="0" i="0" dirty="0">
              <a:solidFill>
                <a:srgbClr val="000000"/>
              </a:solidFill>
              <a:effectLst/>
              <a:latin typeface="avenir-lt-w01_35-light1475496"/>
            </a:endParaRPr>
          </a:p>
          <a:p>
            <a:pPr algn="l"/>
            <a:r>
              <a:rPr lang="en-GB" b="0" i="0" dirty="0">
                <a:solidFill>
                  <a:srgbClr val="000000"/>
                </a:solidFill>
                <a:effectLst/>
                <a:latin typeface="avenir-lt-w01_35-light1475496"/>
              </a:rPr>
              <a:t>Last year’s theme was “Celebrating Our Sisters” which offered a</a:t>
            </a:r>
            <a:r>
              <a:rPr lang="en-US" b="0" i="0" dirty="0">
                <a:solidFill>
                  <a:srgbClr val="13343B"/>
                </a:solidFill>
                <a:effectLst/>
                <a:latin typeface="__fkGroteskNeue_532e43"/>
              </a:rPr>
              <a:t> significant opportunity to acknowledge and celebrate the outstanding achievements of black women by focusing on honoring the matriarchs of movements and saluting our sisters who have frequently been neglected or forgotten. </a:t>
            </a:r>
          </a:p>
          <a:p>
            <a:pPr algn="l"/>
            <a:endParaRPr lang="en-US" sz="1200" b="0" cap="none" dirty="0"/>
          </a:p>
          <a:p>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244BF3-AA63-413F-ADDB-AAAC138AC4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664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74151"/>
                </a:solidFill>
                <a:effectLst/>
                <a:latin typeface="Söhne"/>
              </a:rPr>
              <a:t>Which country abolished slavery before the United States?</a:t>
            </a:r>
          </a:p>
          <a:p>
            <a:endParaRPr lang="en-US" b="0" i="0" dirty="0">
              <a:solidFill>
                <a:srgbClr val="374151"/>
              </a:solidFill>
              <a:effectLst/>
              <a:latin typeface="Söhne"/>
            </a:endParaRPr>
          </a:p>
          <a:p>
            <a:pPr marL="228600" indent="-228600">
              <a:buAutoNum type="alphaLcParenR"/>
            </a:pPr>
            <a:r>
              <a:rPr lang="en-US" b="0" i="0" dirty="0">
                <a:solidFill>
                  <a:srgbClr val="374151"/>
                </a:solidFill>
                <a:effectLst/>
                <a:latin typeface="Söhne"/>
              </a:rPr>
              <a:t>Italy</a:t>
            </a:r>
          </a:p>
          <a:p>
            <a:pPr marL="228600" indent="-228600">
              <a:buAutoNum type="alphaLcParenR"/>
            </a:pPr>
            <a:r>
              <a:rPr lang="en-US" b="0" i="0" dirty="0">
                <a:solidFill>
                  <a:srgbClr val="374151"/>
                </a:solidFill>
                <a:effectLst/>
                <a:latin typeface="Söhne"/>
              </a:rPr>
              <a:t>Australia</a:t>
            </a:r>
          </a:p>
          <a:p>
            <a:pPr marL="228600" indent="-228600">
              <a:buAutoNum type="alphaLcParenR"/>
            </a:pPr>
            <a:r>
              <a:rPr lang="en-US" b="0" i="0" dirty="0">
                <a:solidFill>
                  <a:srgbClr val="374151"/>
                </a:solidFill>
                <a:effectLst/>
                <a:latin typeface="Söhne"/>
              </a:rPr>
              <a:t>China</a:t>
            </a:r>
          </a:p>
          <a:p>
            <a:pPr marL="228600" indent="-228600">
              <a:buAutoNum type="alphaLcParenR"/>
            </a:pPr>
            <a:r>
              <a:rPr lang="en-US" b="0" i="0" dirty="0">
                <a:solidFill>
                  <a:srgbClr val="374151"/>
                </a:solidFill>
                <a:effectLst/>
                <a:latin typeface="Söhne"/>
              </a:rPr>
              <a:t>United Kingdom</a:t>
            </a:r>
          </a:p>
          <a:p>
            <a:pPr marL="228600" indent="-228600">
              <a:buAutoNum type="alphaLcParenR"/>
            </a:pPr>
            <a:r>
              <a:rPr lang="en-US" b="0" i="0" dirty="0">
                <a:solidFill>
                  <a:srgbClr val="374151"/>
                </a:solidFill>
                <a:effectLst/>
                <a:latin typeface="Söhne"/>
              </a:rPr>
              <a:t>Brazil</a:t>
            </a:r>
          </a:p>
          <a:p>
            <a:pPr marL="0" indent="0">
              <a:buNone/>
            </a:pPr>
            <a:endParaRPr lang="en-US" b="0" i="0" dirty="0">
              <a:solidFill>
                <a:srgbClr val="374151"/>
              </a:solidFill>
              <a:effectLst/>
              <a:latin typeface="Söhne"/>
            </a:endParaRPr>
          </a:p>
          <a:p>
            <a:endParaRPr lang="en-GB" b="0" i="0" dirty="0">
              <a:solidFill>
                <a:srgbClr val="000000"/>
              </a:solidFill>
              <a:effectLst/>
              <a:latin typeface="avenir-lt-w01_35-light1475496"/>
            </a:endParaRPr>
          </a:p>
          <a:p>
            <a:endParaRPr lang="en-GB" b="0" i="0" dirty="0">
              <a:solidFill>
                <a:srgbClr val="000000"/>
              </a:solidFill>
              <a:effectLst/>
              <a:latin typeface="avenir-lt-w01_35-light1475496"/>
            </a:endParaRPr>
          </a:p>
          <a:p>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13</a:t>
            </a:fld>
            <a:endParaRPr lang="en-GB"/>
          </a:p>
        </p:txBody>
      </p:sp>
    </p:spTree>
    <p:extLst>
      <p:ext uri="{BB962C8B-B14F-4D97-AF65-F5344CB8AC3E}">
        <p14:creationId xmlns:p14="http://schemas.microsoft.com/office/powerpoint/2010/main" val="35256953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avenir-lt-w01_35-light1475496"/>
              </a:rPr>
              <a:t>D - United Kingdom</a:t>
            </a:r>
          </a:p>
          <a:p>
            <a:endParaRPr lang="en-GB" b="0" i="0" dirty="0">
              <a:solidFill>
                <a:srgbClr val="000000"/>
              </a:solidFill>
              <a:effectLst/>
              <a:latin typeface="avenir-lt-w01_35-light1475496"/>
            </a:endParaRPr>
          </a:p>
          <a:p>
            <a:r>
              <a:rPr lang="en-US" b="0" i="0" dirty="0">
                <a:solidFill>
                  <a:srgbClr val="13343B"/>
                </a:solidFill>
                <a:effectLst/>
                <a:latin typeface="__fkGroteskNeue_532e43"/>
              </a:rPr>
              <a:t>The UK abolished slave trade in 1807 and abolished slavery in most British colonies by the Slavery Abolition Act of 1833, freeing over 800 thousand enslaved Africans in the Caribbean and South Africa and a small number in Canada.</a:t>
            </a:r>
            <a:endParaRPr lang="en-GB" b="0" i="0" dirty="0">
              <a:solidFill>
                <a:srgbClr val="000000"/>
              </a:solidFill>
              <a:effectLst/>
              <a:latin typeface="avenir-lt-w01_35-light1475496"/>
            </a:endParaRPr>
          </a:p>
          <a:p>
            <a:endParaRPr lang="en-GB" b="0" i="0" dirty="0">
              <a:solidFill>
                <a:srgbClr val="000000"/>
              </a:solidFill>
              <a:effectLst/>
              <a:latin typeface="avenir-lt-w01_35-light1475496"/>
            </a:endParaRPr>
          </a:p>
          <a:p>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14</a:t>
            </a:fld>
            <a:endParaRPr lang="en-GB"/>
          </a:p>
        </p:txBody>
      </p:sp>
    </p:spTree>
    <p:extLst>
      <p:ext uri="{BB962C8B-B14F-4D97-AF65-F5344CB8AC3E}">
        <p14:creationId xmlns:p14="http://schemas.microsoft.com/office/powerpoint/2010/main" val="3986693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kern="100" dirty="0">
                <a:latin typeface="Calibri" panose="020F0502020204030204" pitchFamily="34" charset="0"/>
                <a:ea typeface="Calibri" panose="020F0502020204030204" pitchFamily="34" charset="0"/>
                <a:cs typeface="Times New Roman" panose="02020603050405020304" pitchFamily="18" charset="0"/>
              </a:rPr>
              <a:t>Which Black British actor portrayed the character “Finn” in Disney’s Star Wars sequel trilogy?</a:t>
            </a:r>
          </a:p>
          <a:p>
            <a:endParaRPr lang="en-GB" dirty="0"/>
          </a:p>
          <a:p>
            <a:pPr>
              <a:lnSpc>
                <a:spcPct val="107000"/>
              </a:lnSpc>
              <a:spcAft>
                <a:spcPts val="800"/>
              </a:spcAft>
            </a:pPr>
            <a:r>
              <a:rPr lang="de-DE" b="0" kern="100" dirty="0">
                <a:latin typeface="Calibri" panose="020F0502020204030204" pitchFamily="34" charset="0"/>
                <a:ea typeface="Calibri" panose="020F0502020204030204" pitchFamily="34" charset="0"/>
                <a:cs typeface="Times New Roman" panose="02020603050405020304" pitchFamily="18" charset="0"/>
              </a:rPr>
              <a:t>a) Chiwetel Ejiofor</a:t>
            </a:r>
            <a:endParaRPr lang="en-GB" b="0"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b="0" kern="100" dirty="0">
                <a:latin typeface="Calibri" panose="020F0502020204030204" pitchFamily="34" charset="0"/>
                <a:ea typeface="Calibri" panose="020F0502020204030204" pitchFamily="34" charset="0"/>
                <a:cs typeface="Times New Roman" panose="02020603050405020304" pitchFamily="18" charset="0"/>
              </a:rPr>
              <a:t>b) Daniel </a:t>
            </a:r>
            <a:r>
              <a:rPr lang="de-DE" b="0" kern="100" dirty="0" err="1">
                <a:latin typeface="Calibri" panose="020F0502020204030204" pitchFamily="34" charset="0"/>
                <a:ea typeface="Calibri" panose="020F0502020204030204" pitchFamily="34" charset="0"/>
                <a:cs typeface="Times New Roman" panose="02020603050405020304" pitchFamily="18" charset="0"/>
              </a:rPr>
              <a:t>Kaluuya</a:t>
            </a:r>
            <a:endParaRPr lang="en-GB" b="0" kern="1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b="0" kern="100" dirty="0">
                <a:latin typeface="Calibri" panose="020F0502020204030204" pitchFamily="34" charset="0"/>
                <a:ea typeface="Calibri" panose="020F0502020204030204" pitchFamily="34" charset="0"/>
                <a:cs typeface="Times New Roman" panose="02020603050405020304" pitchFamily="18" charset="0"/>
              </a:rPr>
              <a:t>c) David Oyelowo</a:t>
            </a:r>
          </a:p>
          <a:p>
            <a:pPr>
              <a:lnSpc>
                <a:spcPct val="107000"/>
              </a:lnSpc>
              <a:spcAft>
                <a:spcPts val="800"/>
              </a:spcAft>
            </a:pPr>
            <a:r>
              <a:rPr lang="en-GB" b="0" kern="100" dirty="0">
                <a:latin typeface="Calibri" panose="020F0502020204030204" pitchFamily="34" charset="0"/>
                <a:ea typeface="Calibri" panose="020F0502020204030204" pitchFamily="34" charset="0"/>
                <a:cs typeface="Times New Roman" panose="02020603050405020304" pitchFamily="18" charset="0"/>
              </a:rPr>
              <a:t>d) John Boyega</a:t>
            </a:r>
          </a:p>
          <a:p>
            <a:pPr>
              <a:lnSpc>
                <a:spcPct val="107000"/>
              </a:lnSpc>
              <a:spcAft>
                <a:spcPts val="800"/>
              </a:spcAft>
            </a:pPr>
            <a:r>
              <a:rPr lang="en-GB" b="0" kern="100" dirty="0">
                <a:latin typeface="Calibri" panose="020F0502020204030204" pitchFamily="34" charset="0"/>
                <a:ea typeface="Calibri" panose="020F0502020204030204" pitchFamily="34" charset="0"/>
                <a:cs typeface="Times New Roman" panose="02020603050405020304" pitchFamily="18" charset="0"/>
              </a:rPr>
              <a:t>e) Naomi Campbell</a:t>
            </a:r>
          </a:p>
          <a:p>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15</a:t>
            </a:fld>
            <a:endParaRPr lang="en-GB"/>
          </a:p>
        </p:txBody>
      </p:sp>
    </p:spTree>
    <p:extLst>
      <p:ext uri="{BB962C8B-B14F-4D97-AF65-F5344CB8AC3E}">
        <p14:creationId xmlns:p14="http://schemas.microsoft.com/office/powerpoint/2010/main" val="908340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 – </a:t>
            </a:r>
            <a:r>
              <a:rPr lang="en-GB" dirty="0"/>
              <a:t>John Adedayo Adegboyega popularly known as John Boyega.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D0D0D"/>
                </a:solidFill>
                <a:effectLst/>
                <a:latin typeface="Söhne"/>
              </a:rPr>
              <a:t>A British-Nigerian actor born in Camberwell, gained prominence as Finn in Disney's Star Wars trilogy, breaking barriers for Black represen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D0D0D"/>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D0D0D"/>
                </a:solidFill>
                <a:effectLst/>
                <a:latin typeface="Söhne"/>
              </a:rPr>
              <a:t>He uses his platform to advocate for diversity, speaking out against racism, and promoting teetotalism - complete abstinence from alcoholic drinks. Don’t ask to grab drinks at the pub pleas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16</a:t>
            </a:fld>
            <a:endParaRPr lang="en-GB"/>
          </a:p>
        </p:txBody>
      </p:sp>
    </p:spTree>
    <p:extLst>
      <p:ext uri="{BB962C8B-B14F-4D97-AF65-F5344CB8AC3E}">
        <p14:creationId xmlns:p14="http://schemas.microsoft.com/office/powerpoint/2010/main" val="36899071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GB" b="0" i="0" dirty="0">
                <a:solidFill>
                  <a:srgbClr val="252525"/>
                </a:solidFill>
                <a:effectLst/>
                <a:latin typeface="fredoka one" panose="02000000000000000000" pitchFamily="2" charset="0"/>
              </a:rPr>
              <a:t> The Notting Hill Carnival is an important event in Black British culture. When did the first event happen?</a:t>
            </a:r>
          </a:p>
          <a:p>
            <a:pPr algn="l" fontAlgn="base"/>
            <a:endParaRPr lang="en-GB" b="0" i="0" dirty="0">
              <a:solidFill>
                <a:srgbClr val="252525"/>
              </a:solidFill>
              <a:effectLst/>
              <a:latin typeface="fredoka one" panose="02000000000000000000" pitchFamily="2" charset="0"/>
            </a:endParaRPr>
          </a:p>
          <a:p>
            <a:pPr marL="228600" indent="-228600" algn="l" fontAlgn="base">
              <a:buAutoNum type="alphaLcParenR"/>
            </a:pPr>
            <a:r>
              <a:rPr lang="en-GB" b="0" i="0" dirty="0">
                <a:solidFill>
                  <a:srgbClr val="13343B"/>
                </a:solidFill>
                <a:effectLst/>
                <a:latin typeface="__fkGroteskNeue_532e43"/>
              </a:rPr>
              <a:t>1958</a:t>
            </a:r>
          </a:p>
          <a:p>
            <a:pPr marL="228600" indent="-228600" algn="l" fontAlgn="base">
              <a:buAutoNum type="alphaLcParenR"/>
            </a:pPr>
            <a:r>
              <a:rPr lang="en-GB" b="0" i="0" dirty="0">
                <a:solidFill>
                  <a:srgbClr val="13343B"/>
                </a:solidFill>
                <a:effectLst/>
                <a:latin typeface="__fkGroteskNeue_532e43"/>
              </a:rPr>
              <a:t>1978</a:t>
            </a:r>
          </a:p>
          <a:p>
            <a:pPr marL="228600" indent="-228600" algn="l" fontAlgn="base">
              <a:buAutoNum type="alphaLcParenR"/>
            </a:pPr>
            <a:r>
              <a:rPr lang="en-GB" b="0" i="0" dirty="0">
                <a:solidFill>
                  <a:srgbClr val="13343B"/>
                </a:solidFill>
                <a:effectLst/>
                <a:latin typeface="__fkGroteskNeue_532e43"/>
              </a:rPr>
              <a:t>1960</a:t>
            </a:r>
          </a:p>
          <a:p>
            <a:pPr marL="228600" indent="-228600" algn="l" fontAlgn="base">
              <a:buAutoNum type="alphaLcParenR"/>
            </a:pPr>
            <a:r>
              <a:rPr lang="en-GB" b="0" i="0" dirty="0">
                <a:solidFill>
                  <a:srgbClr val="13343B"/>
                </a:solidFill>
                <a:effectLst/>
                <a:latin typeface="__fkGroteskNeue_532e43"/>
              </a:rPr>
              <a:t>1950</a:t>
            </a:r>
          </a:p>
          <a:p>
            <a:pPr marL="228600" indent="-228600" algn="l" fontAlgn="base">
              <a:buAutoNum type="alphaLcParenR"/>
            </a:pPr>
            <a:r>
              <a:rPr lang="en-GB" b="0" i="0" dirty="0">
                <a:solidFill>
                  <a:srgbClr val="13343B"/>
                </a:solidFill>
                <a:effectLst/>
                <a:latin typeface="__fkGroteskNeue_532e43"/>
              </a:rPr>
              <a:t>1966</a:t>
            </a:r>
          </a:p>
          <a:p>
            <a:pPr algn="l" fontAlgn="base"/>
            <a:endParaRPr lang="en-GB" b="0" i="0" dirty="0">
              <a:solidFill>
                <a:srgbClr val="252525"/>
              </a:solidFill>
              <a:effectLst/>
              <a:latin typeface="fredoka one" panose="02000000000000000000" pitchFamily="2" charset="0"/>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17</a:t>
            </a:fld>
            <a:endParaRPr lang="en-GB"/>
          </a:p>
        </p:txBody>
      </p:sp>
    </p:spTree>
    <p:extLst>
      <p:ext uri="{BB962C8B-B14F-4D97-AF65-F5344CB8AC3E}">
        <p14:creationId xmlns:p14="http://schemas.microsoft.com/office/powerpoint/2010/main" val="41593093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avenir-lt-w01_35-light1475496"/>
              </a:rPr>
              <a:t>E - 1966</a:t>
            </a:r>
          </a:p>
          <a:p>
            <a:endParaRPr lang="en-GB" b="0" i="0" dirty="0">
              <a:solidFill>
                <a:srgbClr val="000000"/>
              </a:solidFill>
              <a:effectLst/>
              <a:latin typeface="avenir-lt-w01_35-light1475496"/>
            </a:endParaRPr>
          </a:p>
          <a:p>
            <a:r>
              <a:rPr lang="en-GB" b="0" i="0" dirty="0">
                <a:solidFill>
                  <a:srgbClr val="333333"/>
                </a:solidFill>
                <a:effectLst/>
                <a:latin typeface="Roboto" panose="02000000000000000000" pitchFamily="2" charset="0"/>
              </a:rPr>
              <a:t>The Notting Hill Carnival, now the largest street festival in Europe, was established in 1966 as a means for Afro-Caribbean communities to honour and showcase their own cultures and traditions.</a:t>
            </a:r>
          </a:p>
          <a:p>
            <a:endParaRPr lang="en-GB" b="0" i="0" dirty="0">
              <a:solidFill>
                <a:srgbClr val="333333"/>
              </a:solidFill>
              <a:effectLs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rgbClr val="333333"/>
                </a:solidFill>
                <a:effectLst/>
                <a:latin typeface="Roboto" panose="02000000000000000000" pitchFamily="2" charset="0"/>
                <a:ea typeface="+mn-ea"/>
                <a:cs typeface="+mn-cs"/>
              </a:rPr>
              <a:t>Notting Hill Carnival has become a symbol of Black Britain and its resilience to celebrate cultural pride in the face of oppression and discrimination.</a:t>
            </a:r>
          </a:p>
          <a:p>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18</a:t>
            </a:fld>
            <a:endParaRPr lang="en-GB"/>
          </a:p>
        </p:txBody>
      </p:sp>
    </p:spTree>
    <p:extLst>
      <p:ext uri="{BB962C8B-B14F-4D97-AF65-F5344CB8AC3E}">
        <p14:creationId xmlns:p14="http://schemas.microsoft.com/office/powerpoint/2010/main" val="54586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kern="100" dirty="0">
                <a:latin typeface="Calibri" panose="020F0502020204030204" pitchFamily="34" charset="0"/>
                <a:ea typeface="Calibri" panose="020F0502020204030204" pitchFamily="34" charset="0"/>
                <a:cs typeface="Times New Roman" panose="02020603050405020304" pitchFamily="18" charset="0"/>
              </a:rPr>
              <a:t>Who was the first Black British Member of Parlia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1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AutoNum type="alphaLcParenR"/>
            </a:pPr>
            <a:r>
              <a:rPr lang="en-GB" b="0" kern="100" dirty="0">
                <a:latin typeface="Calibri" panose="020F0502020204030204" pitchFamily="34" charset="0"/>
                <a:ea typeface="Calibri" panose="020F0502020204030204" pitchFamily="34" charset="0"/>
                <a:cs typeface="Times New Roman" panose="02020603050405020304" pitchFamily="18" charset="0"/>
              </a:rPr>
              <a:t>David Lammy</a:t>
            </a:r>
          </a:p>
          <a:p>
            <a:pPr marL="342900" indent="-342900">
              <a:lnSpc>
                <a:spcPct val="107000"/>
              </a:lnSpc>
              <a:spcAft>
                <a:spcPts val="800"/>
              </a:spcAft>
              <a:buAutoNum type="alphaLcParenR"/>
            </a:pPr>
            <a:r>
              <a:rPr lang="en-GB" b="0" kern="100" dirty="0">
                <a:latin typeface="Calibri" panose="020F0502020204030204" pitchFamily="34" charset="0"/>
                <a:ea typeface="Calibri" panose="020F0502020204030204" pitchFamily="34" charset="0"/>
                <a:cs typeface="Times New Roman" panose="02020603050405020304" pitchFamily="18" charset="0"/>
              </a:rPr>
              <a:t>Kwasi Kwarteng</a:t>
            </a:r>
          </a:p>
          <a:p>
            <a:pPr marL="342900" indent="-342900">
              <a:lnSpc>
                <a:spcPct val="107000"/>
              </a:lnSpc>
              <a:spcAft>
                <a:spcPts val="800"/>
              </a:spcAft>
              <a:buAutoNum type="alphaLcParenR"/>
            </a:pPr>
            <a:r>
              <a:rPr lang="de-DE" b="0" kern="100" dirty="0">
                <a:latin typeface="Calibri" panose="020F0502020204030204" pitchFamily="34" charset="0"/>
                <a:ea typeface="Calibri" panose="020F0502020204030204" pitchFamily="34" charset="0"/>
                <a:cs typeface="Times New Roman" panose="02020603050405020304" pitchFamily="18" charset="0"/>
              </a:rPr>
              <a:t>Diane Abbott</a:t>
            </a:r>
            <a:endParaRPr lang="en-GB" b="0" kern="1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AutoNum type="alphaLcParenR"/>
            </a:pPr>
            <a:r>
              <a:rPr lang="de-DE" b="0" kern="100" dirty="0">
                <a:latin typeface="Calibri" panose="020F0502020204030204" pitchFamily="34" charset="0"/>
                <a:ea typeface="Calibri" panose="020F0502020204030204" pitchFamily="34" charset="0"/>
                <a:cs typeface="Times New Roman" panose="02020603050405020304" pitchFamily="18" charset="0"/>
              </a:rPr>
              <a:t>Bernie Grant</a:t>
            </a:r>
          </a:p>
          <a:p>
            <a:pPr marL="342900" indent="-342900">
              <a:lnSpc>
                <a:spcPct val="107000"/>
              </a:lnSpc>
              <a:spcAft>
                <a:spcPts val="800"/>
              </a:spcAft>
              <a:buAutoNum type="alphaLcParenR"/>
            </a:pPr>
            <a:r>
              <a:rPr lang="de-DE" b="0" kern="100" dirty="0" err="1">
                <a:latin typeface="Calibri" panose="020F0502020204030204" pitchFamily="34" charset="0"/>
                <a:ea typeface="Calibri" panose="020F0502020204030204" pitchFamily="34" charset="0"/>
                <a:cs typeface="Times New Roman" panose="02020603050405020304" pitchFamily="18" charset="0"/>
              </a:rPr>
              <a:t>Priti</a:t>
            </a:r>
            <a:r>
              <a:rPr lang="de-DE" b="0" kern="100" dirty="0">
                <a:latin typeface="Calibri" panose="020F0502020204030204" pitchFamily="34" charset="0"/>
                <a:ea typeface="Calibri" panose="020F0502020204030204" pitchFamily="34" charset="0"/>
                <a:cs typeface="Times New Roman" panose="02020603050405020304" pitchFamily="18" charset="0"/>
              </a:rPr>
              <a:t> Patel</a:t>
            </a:r>
            <a:endParaRPr lang="en-GB" b="0" kern="1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1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1" kern="1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en-GB" b="1" kern="100" dirty="0">
                <a:latin typeface="Calibri" panose="020F0502020204030204" pitchFamily="34" charset="0"/>
                <a:ea typeface="Calibri" panose="020F0502020204030204" pitchFamily="34" charset="0"/>
                <a:cs typeface="Times New Roman" panose="02020603050405020304" pitchFamily="18" charset="0"/>
              </a:rPr>
            </a:br>
            <a:endParaRPr lang="en-GB" b="1" kern="100" dirty="0">
              <a:latin typeface="Calibri" panose="020F0502020204030204" pitchFamily="34" charset="0"/>
              <a:ea typeface="Calibri" panose="020F0502020204030204" pitchFamily="34" charset="0"/>
              <a:cs typeface="Times New Roman" panose="02020603050405020304" pitchFamily="18" charset="0"/>
            </a:endParaRPr>
          </a:p>
          <a:p>
            <a:pPr algn="l"/>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19</a:t>
            </a:fld>
            <a:endParaRPr lang="en-GB"/>
          </a:p>
        </p:txBody>
      </p:sp>
    </p:spTree>
    <p:extLst>
      <p:ext uri="{BB962C8B-B14F-4D97-AF65-F5344CB8AC3E}">
        <p14:creationId xmlns:p14="http://schemas.microsoft.com/office/powerpoint/2010/main" val="1540115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Here’s the agenda for this presentation, I’ll start with …</a:t>
            </a:r>
          </a:p>
          <a:p>
            <a:pPr algn="l"/>
            <a:endParaRPr lang="en-GB" b="0" i="0" dirty="0">
              <a:solidFill>
                <a:srgbClr val="374151"/>
              </a:solidFill>
              <a:effectLst/>
              <a:latin typeface="Söhne"/>
            </a:endParaRPr>
          </a:p>
          <a:p>
            <a:pPr algn="l"/>
            <a:r>
              <a:rPr lang="en-GB" b="0" i="0" dirty="0">
                <a:solidFill>
                  <a:srgbClr val="374151"/>
                </a:solidFill>
                <a:effectLst/>
                <a:latin typeface="Söhne"/>
              </a:rPr>
              <a:t>*Black History Trivia* - please get your phones ready to participate with a chance to win a photo with me and lovely prize from myself as well</a:t>
            </a:r>
          </a:p>
          <a:p>
            <a:pPr algn="l"/>
            <a:endParaRPr lang="en-GB" b="0" i="0" dirty="0">
              <a:solidFill>
                <a:srgbClr val="374151"/>
              </a:solidFill>
              <a:effectLst/>
              <a:latin typeface="Söhne"/>
            </a:endParaRPr>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441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000000"/>
                </a:solidFill>
                <a:effectLst/>
                <a:latin typeface="avenir-lt-w01_35-light1475496"/>
              </a:rPr>
              <a:t>C - Dianne Abbott</a:t>
            </a:r>
          </a:p>
          <a:p>
            <a:pPr algn="l"/>
            <a:endParaRPr lang="en-GB" b="0" i="0" dirty="0">
              <a:solidFill>
                <a:srgbClr val="000000"/>
              </a:solidFill>
              <a:effectLst/>
              <a:latin typeface="avenir-lt-w01_35-light1475496"/>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orn in Paddington to a British-Jamaican family in 1953, She was the first Black woman elected to parliament in 1987 and the longest-serving Black MP.</a:t>
            </a:r>
          </a:p>
          <a:p>
            <a:pPr marL="0" indent="0" algn="just">
              <a:buFont typeface="Arial" panose="020B0604020202020204" pitchFamily="34" charset="0"/>
              <a:buNone/>
            </a:pPr>
            <a:endParaRPr lang="en-US" dirty="0"/>
          </a:p>
          <a:p>
            <a:pPr marL="0" indent="0" algn="just">
              <a:buFont typeface="Arial" panose="020B0604020202020204" pitchFamily="34" charset="0"/>
              <a:buNone/>
            </a:pPr>
            <a:r>
              <a:rPr lang="en-US" dirty="0"/>
              <a:t>Founder of the London Schools and the Black Child initiative, which aims to raise educational achievement levels amongst Black children</a:t>
            </a:r>
          </a:p>
          <a:p>
            <a:pPr algn="l"/>
            <a:endParaRPr lang="en-GB" b="0" i="0" dirty="0">
              <a:solidFill>
                <a:srgbClr val="000000"/>
              </a:solidFill>
              <a:effectLst/>
              <a:latin typeface="avenir-lt-w01_35-light1475496"/>
            </a:endParaRPr>
          </a:p>
        </p:txBody>
      </p:sp>
      <p:sp>
        <p:nvSpPr>
          <p:cNvPr id="4" name="Slide Number Placeholder 3"/>
          <p:cNvSpPr>
            <a:spLocks noGrp="1"/>
          </p:cNvSpPr>
          <p:nvPr>
            <p:ph type="sldNum" sz="quarter" idx="5"/>
          </p:nvPr>
        </p:nvSpPr>
        <p:spPr/>
        <p:txBody>
          <a:bodyPr/>
          <a:lstStyle/>
          <a:p>
            <a:fld id="{8A244BF3-AA63-413F-ADDB-AAAC138AC4E8}" type="slidenum">
              <a:rPr lang="en-GB" smtClean="0"/>
              <a:t>20</a:t>
            </a:fld>
            <a:endParaRPr lang="en-GB"/>
          </a:p>
        </p:txBody>
      </p:sp>
    </p:spTree>
    <p:extLst>
      <p:ext uri="{BB962C8B-B14F-4D97-AF65-F5344CB8AC3E}">
        <p14:creationId xmlns:p14="http://schemas.microsoft.com/office/powerpoint/2010/main" val="12606716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252525"/>
                </a:solidFill>
                <a:effectLst/>
                <a:latin typeface="fredoka one" panose="020F0502020204030204" pitchFamily="2" charset="0"/>
              </a:rPr>
              <a:t>Died in London in 1881, which Black nurse is known for saving the lives of many British soldiers in the 1856 Crimean W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252525"/>
              </a:solidFill>
              <a:effectLst/>
              <a:latin typeface="fredoka one" panose="020F05020202040302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b="0" i="0" dirty="0">
                <a:solidFill>
                  <a:srgbClr val="374151"/>
                </a:solidFill>
                <a:effectLst/>
                <a:latin typeface="Söhne"/>
              </a:rPr>
              <a:t>Florence Nightingale</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b="0" i="0" dirty="0">
                <a:solidFill>
                  <a:srgbClr val="374151"/>
                </a:solidFill>
                <a:effectLst/>
                <a:latin typeface="Söhne"/>
              </a:rPr>
              <a:t>Harriet Tubman</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b="0" i="0" dirty="0">
                <a:solidFill>
                  <a:srgbClr val="374151"/>
                </a:solidFill>
                <a:effectLst/>
                <a:latin typeface="Söhne"/>
              </a:rPr>
              <a:t>Sojourner Truth </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b="0" i="0" dirty="0">
                <a:solidFill>
                  <a:srgbClr val="374151"/>
                </a:solidFill>
                <a:effectLst/>
                <a:latin typeface="Söhne"/>
              </a:rPr>
              <a:t>Mary Seacole </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b="0" i="0" dirty="0">
                <a:solidFill>
                  <a:srgbClr val="374151"/>
                </a:solidFill>
                <a:effectLst/>
                <a:latin typeface="Söhne"/>
              </a:rPr>
              <a:t>Rosa Parks</a:t>
            </a:r>
            <a:endParaRPr lang="en-GB" b="0" i="0" dirty="0">
              <a:solidFill>
                <a:srgbClr val="252525"/>
              </a:solidFill>
              <a:effectLst/>
              <a:latin typeface="fredoka one" panose="020F0502020204030204" pitchFamily="2" charset="0"/>
            </a:endParaRPr>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125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374151"/>
                </a:solidFill>
                <a:effectLst/>
                <a:latin typeface="Söhne"/>
              </a:rPr>
              <a:t>D - Mary Seacole </a:t>
            </a:r>
            <a:endParaRPr lang="en-US" b="0" i="0" dirty="0">
              <a:solidFill>
                <a:srgbClr val="13343B"/>
              </a:solidFill>
              <a:effectLst/>
              <a:latin typeface="__fkGroteskNeue_532e43"/>
            </a:endParaRPr>
          </a:p>
          <a:p>
            <a:pPr marL="171450" indent="-171450" algn="l">
              <a:buFont typeface="Arial" panose="020B0604020202020204" pitchFamily="34" charset="0"/>
              <a:buChar char="•"/>
            </a:pPr>
            <a:endParaRPr lang="en-US" b="0" i="0" dirty="0">
              <a:solidFill>
                <a:srgbClr val="13343B"/>
              </a:solidFill>
              <a:effectLst/>
              <a:latin typeface="__fkGroteskNeue_532e43"/>
            </a:endParaRPr>
          </a:p>
          <a:p>
            <a:pPr marL="0" indent="0" algn="l">
              <a:buFont typeface="Arial" panose="020B0604020202020204" pitchFamily="34" charset="0"/>
              <a:buNone/>
            </a:pPr>
            <a:r>
              <a:rPr lang="en-US" b="0" i="0" dirty="0">
                <a:solidFill>
                  <a:srgbClr val="13343B"/>
                </a:solidFill>
                <a:effectLst/>
                <a:latin typeface="__fkGroteskNeue_532e43"/>
              </a:rPr>
              <a:t>Born in Kingston, Jamaica in 1805 to a Scottish officer and Black businesswoman</a:t>
            </a:r>
          </a:p>
          <a:p>
            <a:pPr marL="0" indent="0" algn="l">
              <a:buFont typeface="Arial" panose="020B0604020202020204" pitchFamily="34" charset="0"/>
              <a:buNone/>
            </a:pPr>
            <a:endParaRPr lang="en-US" b="0" i="0" dirty="0">
              <a:solidFill>
                <a:srgbClr val="13343B"/>
              </a:solidFill>
              <a:effectLst/>
              <a:latin typeface="__fkGroteskNeue_532e43"/>
            </a:endParaRPr>
          </a:p>
          <a:p>
            <a:pPr marL="0" indent="0" algn="l">
              <a:buFont typeface="Arial" panose="020B0604020202020204" pitchFamily="34" charset="0"/>
              <a:buNone/>
            </a:pPr>
            <a:r>
              <a:rPr lang="en-US" b="0" i="0" dirty="0">
                <a:solidFill>
                  <a:srgbClr val="13343B"/>
                </a:solidFill>
                <a:effectLst/>
                <a:latin typeface="__fkGroteskNeue_532e43"/>
              </a:rPr>
              <a:t>A nurse who used herbal remedies to treat the sick and wounded at the military hospitals during the war. </a:t>
            </a:r>
          </a:p>
          <a:p>
            <a:pPr marL="0" indent="0" algn="l">
              <a:buFont typeface="Arial" panose="020B0604020202020204" pitchFamily="34" charset="0"/>
              <a:buNone/>
            </a:pPr>
            <a:endParaRPr lang="en-US" b="0" i="0" dirty="0">
              <a:solidFill>
                <a:srgbClr val="13343B"/>
              </a:solidFill>
              <a:effectLst/>
              <a:latin typeface="__fkGroteskNeue_532e43"/>
            </a:endParaRPr>
          </a:p>
          <a:p>
            <a:pPr marL="0" indent="0" algn="l">
              <a:buFont typeface="Arial" panose="020B0604020202020204" pitchFamily="34" charset="0"/>
              <a:buNone/>
            </a:pPr>
            <a:r>
              <a:rPr lang="en-US" b="0" i="0" dirty="0">
                <a:solidFill>
                  <a:srgbClr val="13343B"/>
                </a:solidFill>
                <a:effectLst/>
                <a:latin typeface="__fkGroteskNeue_532e43"/>
              </a:rPr>
              <a:t>Also a familiar figure at the transfer points for casualties from the war front, eulogized as the “Mother of the Army” alongside Florence Nightingale</a:t>
            </a:r>
          </a:p>
          <a:p>
            <a:pPr algn="l"/>
            <a:endParaRPr lang="en-US" b="0" i="0" dirty="0">
              <a:solidFill>
                <a:srgbClr val="13343B"/>
              </a:solidFill>
              <a:effectLst/>
              <a:latin typeface="__fkGroteskNeue_532e43"/>
            </a:endParaRPr>
          </a:p>
          <a:p>
            <a:pPr algn="l"/>
            <a:endParaRPr lang="en-GB" b="0" i="0" dirty="0">
              <a:solidFill>
                <a:srgbClr val="374151"/>
              </a:solidFill>
              <a:effectLst/>
              <a:latin typeface="Söhne"/>
            </a:endParaRPr>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181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43541"/>
                </a:solidFill>
                <a:effectLst/>
                <a:latin typeface="Söhne"/>
              </a:rPr>
              <a:t>Who was the first black queen of Britain ?</a:t>
            </a:r>
          </a:p>
          <a:p>
            <a:pPr algn="l"/>
            <a:endParaRPr lang="en-US" b="0" i="0" dirty="0">
              <a:solidFill>
                <a:srgbClr val="374151"/>
              </a:solidFill>
              <a:effectLst/>
              <a:latin typeface="Söhne"/>
            </a:endParaRPr>
          </a:p>
          <a:p>
            <a:pPr marL="228600" indent="-228600" algn="l">
              <a:buAutoNum type="alphaLcParenR"/>
            </a:pPr>
            <a:r>
              <a:rPr lang="en-US" b="0" i="0" dirty="0">
                <a:solidFill>
                  <a:srgbClr val="374151"/>
                </a:solidFill>
                <a:effectLst/>
                <a:latin typeface="Söhne"/>
              </a:rPr>
              <a:t>Queen Elizabeth II </a:t>
            </a:r>
          </a:p>
          <a:p>
            <a:pPr marL="228600" indent="-228600" algn="l">
              <a:buAutoNum type="alphaLcParenR"/>
            </a:pPr>
            <a:r>
              <a:rPr lang="en-US" b="0" i="0" dirty="0">
                <a:solidFill>
                  <a:srgbClr val="374151"/>
                </a:solidFill>
                <a:effectLst/>
                <a:latin typeface="Söhne"/>
              </a:rPr>
              <a:t>Queen Victoria</a:t>
            </a:r>
          </a:p>
          <a:p>
            <a:pPr marL="228600" indent="-228600" algn="l">
              <a:buAutoNum type="alphaLcParenR"/>
            </a:pPr>
            <a:r>
              <a:rPr lang="en-US" b="0" i="0" dirty="0">
                <a:solidFill>
                  <a:srgbClr val="374151"/>
                </a:solidFill>
                <a:effectLst/>
                <a:latin typeface="Söhne"/>
              </a:rPr>
              <a:t>Queen Charlotte</a:t>
            </a:r>
          </a:p>
          <a:p>
            <a:pPr marL="228600" indent="-228600" algn="l">
              <a:buAutoNum type="alphaLcParenR"/>
            </a:pPr>
            <a:r>
              <a:rPr lang="en-US" b="0" i="0" dirty="0">
                <a:solidFill>
                  <a:srgbClr val="374151"/>
                </a:solidFill>
                <a:effectLst/>
                <a:latin typeface="Söhne"/>
              </a:rPr>
              <a:t>Queen Anne</a:t>
            </a:r>
          </a:p>
          <a:p>
            <a:pPr marL="228600" indent="-228600" algn="l">
              <a:buAutoNum type="alphaLcParenR"/>
            </a:pPr>
            <a:r>
              <a:rPr lang="en-US" b="0" i="0" dirty="0">
                <a:solidFill>
                  <a:srgbClr val="374151"/>
                </a:solidFill>
                <a:effectLst/>
                <a:latin typeface="Söhne"/>
              </a:rPr>
              <a:t>Queen Mary I</a:t>
            </a:r>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2835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74151"/>
                </a:solidFill>
                <a:effectLst/>
                <a:latin typeface="Söhne"/>
              </a:rPr>
              <a:t>C - Queen Charlo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74151"/>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3343B"/>
                </a:solidFill>
                <a:effectLst/>
                <a:latin typeface="__fkGroteskNeue_532e43"/>
              </a:rPr>
              <a:t>A German princess that descended from Margarita de Castro Sousa, a Black branch of the Portuguese royal family</a:t>
            </a:r>
            <a:endParaRPr lang="en-US" b="0" i="0" dirty="0">
              <a:solidFill>
                <a:srgbClr val="374151"/>
              </a:solidFill>
              <a:effectLst/>
              <a:latin typeface="Söhne"/>
            </a:endParaRPr>
          </a:p>
          <a:p>
            <a:pPr algn="l"/>
            <a:endParaRPr lang="en-GB" b="0" i="0" dirty="0">
              <a:solidFill>
                <a:srgbClr val="BDC1C6"/>
              </a:solidFill>
              <a:effectLst/>
              <a:latin typeface="arial" panose="020B0604020202020204" pitchFamily="34" charset="0"/>
            </a:endParaRPr>
          </a:p>
          <a:p>
            <a:pPr algn="l"/>
            <a:r>
              <a:rPr lang="en-GB" b="0" i="0" dirty="0">
                <a:solidFill>
                  <a:srgbClr val="BDC1C6"/>
                </a:solidFill>
                <a:effectLst/>
                <a:latin typeface="arial" panose="020B0604020202020204" pitchFamily="34" charset="0"/>
              </a:rPr>
              <a:t>Charlotte of Mecklenburg-Strelitz was Queen of Great Britain and Ireland as the wife of King George The Third from their marriage in 1761 until her death in 1818.</a:t>
            </a:r>
          </a:p>
          <a:p>
            <a:pPr algn="l"/>
            <a:endParaRPr lang="en-GB" b="0" i="0" dirty="0">
              <a:solidFill>
                <a:srgbClr val="BDC1C6"/>
              </a:solidFill>
              <a:effectLst/>
              <a:latin typeface="arial" panose="020B0604020202020204" pitchFamily="34" charset="0"/>
            </a:endParaRPr>
          </a:p>
          <a:p>
            <a:pPr algn="l"/>
            <a:r>
              <a:rPr lang="en-GB" b="0" i="0" dirty="0">
                <a:solidFill>
                  <a:srgbClr val="202122"/>
                </a:solidFill>
                <a:effectLst/>
                <a:latin typeface="Arial" panose="020B0604020202020204" pitchFamily="34" charset="0"/>
              </a:rPr>
              <a:t>Charlotte was Britain's longest-serving queen consort,</a:t>
            </a:r>
            <a:r>
              <a:rPr lang="en-GB" sz="1200" b="0" i="0" kern="1200" dirty="0">
                <a:solidFill>
                  <a:srgbClr val="202122"/>
                </a:solidFill>
                <a:effectLst/>
                <a:latin typeface="Arial" panose="020B0604020202020204" pitchFamily="34" charset="0"/>
                <a:ea typeface="+mn-ea"/>
                <a:cs typeface="+mn-cs"/>
              </a:rPr>
              <a:t> serving </a:t>
            </a:r>
            <a:r>
              <a:rPr lang="en-GB" b="0" i="0" dirty="0">
                <a:solidFill>
                  <a:srgbClr val="202122"/>
                </a:solidFill>
                <a:effectLst/>
                <a:latin typeface="Arial" panose="020B0604020202020204" pitchFamily="34" charset="0"/>
              </a:rPr>
              <a:t>for 57 years and 70 days. Wow!</a:t>
            </a:r>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8110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9"/>
        <p:cNvGrpSpPr/>
        <p:nvPr/>
      </p:nvGrpSpPr>
      <p:grpSpPr>
        <a:xfrm>
          <a:off x="0" y="0"/>
          <a:ext cx="0" cy="0"/>
          <a:chOff x="0" y="0"/>
          <a:chExt cx="0" cy="0"/>
        </a:xfrm>
      </p:grpSpPr>
      <p:sp>
        <p:nvSpPr>
          <p:cNvPr id="500" name="Google Shape;500;ga073618e60_0_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1" name="Google Shape;501;ga073618e60_0_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Thanks very much for participating in the quiz. A round of appla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We would see the final leaderboard at the end of presentation and the prize for the winner will be presented, please get your phone cameras read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We have seen from the discourse so far and the trivia, the some absolutely brilliant contributions of black people to the British society. Black excellence is also highly regarded and should be in the workplace but this is not always/has not been the c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Let’s look at what some of the challenges are and how to overcome them</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22080908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might ask, what is Code Switching?</a:t>
            </a:r>
          </a:p>
          <a:p>
            <a:endParaRPr lang="en-US" dirty="0"/>
          </a:p>
          <a:p>
            <a:r>
              <a:rPr lang="en-US" dirty="0"/>
              <a:t>One of the social biases in the workplace where black employees may feel the need to alter their behavior, way of speaking, dressing or appearance &amp; mannerisms to fit in with their colleagues or to be taken seriously</a:t>
            </a:r>
          </a:p>
          <a:p>
            <a:endParaRPr lang="en-US" dirty="0"/>
          </a:p>
          <a:p>
            <a:endParaRPr lang="en-US" dirty="0"/>
          </a:p>
          <a:p>
            <a:r>
              <a:rPr lang="en-US" dirty="0"/>
              <a:t>Examples:</a:t>
            </a:r>
          </a:p>
          <a:p>
            <a:endParaRPr lang="en-US" dirty="0"/>
          </a:p>
          <a:p>
            <a:r>
              <a:rPr lang="en-US" b="0" i="0" dirty="0">
                <a:solidFill>
                  <a:srgbClr val="13343B"/>
                </a:solidFill>
                <a:effectLst/>
                <a:latin typeface="__fkGroteskNeue_532e43"/>
              </a:rPr>
              <a:t>*A Black person may need to </a:t>
            </a:r>
            <a:r>
              <a:rPr lang="en-US" b="0" i="0" dirty="0">
                <a:solidFill>
                  <a:srgbClr val="1F1F1F"/>
                </a:solidFill>
                <a:effectLst/>
                <a:latin typeface="Google Sans"/>
              </a:rPr>
              <a:t>adjust their way of speaking (accent) to increase </a:t>
            </a:r>
            <a:r>
              <a:rPr lang="en-US" b="0" i="0" dirty="0">
                <a:solidFill>
                  <a:srgbClr val="13343B"/>
                </a:solidFill>
                <a:effectLst/>
                <a:latin typeface="__fkGroteskNeue_532e43"/>
              </a:rPr>
              <a:t>their odds of getting work, being heard or getting promotions</a:t>
            </a:r>
            <a:r>
              <a:rPr lang="en-US" b="0" i="0" dirty="0">
                <a:solidFill>
                  <a:srgbClr val="1F1F1F"/>
                </a:solidFill>
                <a:effectLst/>
                <a:latin typeface="Google Sans"/>
              </a:rPr>
              <a:t> (racial stereotyping). Ex: Indian Colleague</a:t>
            </a:r>
          </a:p>
          <a:p>
            <a:endParaRPr lang="en-US" b="0" i="0" dirty="0">
              <a:solidFill>
                <a:srgbClr val="1F1F1F"/>
              </a:solidFill>
              <a:effectLst/>
              <a:latin typeface="Google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atural hair for women might be considered out of place in the work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not for us to be them (conform); it is for them to accept us”</a:t>
            </a:r>
          </a:p>
          <a:p>
            <a:endParaRPr lang="en-US" dirty="0"/>
          </a:p>
          <a:p>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26</a:t>
            </a:fld>
            <a:endParaRPr lang="en-GB"/>
          </a:p>
        </p:txBody>
      </p:sp>
    </p:spTree>
    <p:extLst>
      <p:ext uri="{BB962C8B-B14F-4D97-AF65-F5344CB8AC3E}">
        <p14:creationId xmlns:p14="http://schemas.microsoft.com/office/powerpoint/2010/main" val="2385572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27DB6-45B2-A459-F07D-0D706C7439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3D7271-6E06-866C-E47F-3415592C17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1052AF-73B8-7791-CA1C-D35F07D5E354}"/>
              </a:ext>
            </a:extLst>
          </p:cNvPr>
          <p:cNvSpPr>
            <a:spLocks noGrp="1"/>
          </p:cNvSpPr>
          <p:nvPr>
            <p:ph type="body" idx="1"/>
          </p:nvPr>
        </p:nvSpPr>
        <p:spPr/>
        <p:txBody>
          <a:bodyPr/>
          <a:lstStyle/>
          <a:p>
            <a:r>
              <a:rPr lang="en-US" dirty="0"/>
              <a:t>*WORKPLACE DISCRIMINATION*</a:t>
            </a:r>
          </a:p>
          <a:p>
            <a:endParaRPr lang="en-US" dirty="0"/>
          </a:p>
          <a:p>
            <a:r>
              <a:rPr lang="en-US" dirty="0"/>
              <a:t>Black employees may face discrimination in the workplace, which can lead to feelings of isolation and exclusion.</a:t>
            </a:r>
          </a:p>
          <a:p>
            <a:endParaRPr lang="en-US" dirty="0"/>
          </a:p>
          <a:p>
            <a:r>
              <a:rPr lang="en-US" b="0" i="0" dirty="0">
                <a:solidFill>
                  <a:srgbClr val="1F1F1F"/>
                </a:solidFill>
                <a:effectLst/>
                <a:latin typeface="Google Sans"/>
              </a:rPr>
              <a:t>This is a serious challenge in the workplace. It can have a negative impact on the physical and mental health of black employees, and it can also damage their careers.</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amp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buFont typeface="Arial" panose="020B0604020202020204" pitchFamily="34" charset="0"/>
              <a:buChar char="•"/>
            </a:pPr>
            <a:r>
              <a:rPr lang="en-US" b="0" i="0" dirty="0">
                <a:solidFill>
                  <a:srgbClr val="1F1F1F"/>
                </a:solidFill>
                <a:effectLst/>
                <a:latin typeface="Google Sans"/>
              </a:rPr>
              <a:t>A black employee may be disciplined for being late to work, even though other employees are often late without being disciplined – Singling out!</a:t>
            </a:r>
          </a:p>
          <a:p>
            <a:pPr algn="l">
              <a:buFont typeface="Arial" panose="020B0604020202020204" pitchFamily="34" charset="0"/>
              <a:buChar char="•"/>
            </a:pPr>
            <a:r>
              <a:rPr lang="en-US" b="0" i="0" dirty="0">
                <a:solidFill>
                  <a:srgbClr val="1F1F1F"/>
                </a:solidFill>
                <a:effectLst/>
                <a:latin typeface="Google Sans"/>
              </a:rPr>
              <a:t>A black employee may be called racial slurs by their colleagues. – considered jokes, being trendy </a:t>
            </a:r>
            <a:r>
              <a:rPr lang="en-US" b="0" i="0" dirty="0" err="1">
                <a:solidFill>
                  <a:srgbClr val="1F1F1F"/>
                </a:solidFill>
                <a:effectLst/>
                <a:latin typeface="Google Sans"/>
              </a:rPr>
              <a:t>etc</a:t>
            </a:r>
            <a:r>
              <a:rPr lang="en-US" b="0" i="0" dirty="0">
                <a:solidFill>
                  <a:srgbClr val="1F1F1F"/>
                </a:solidFill>
                <a:effectLst/>
                <a:latin typeface="Google Sans"/>
              </a:rPr>
              <a:t> </a:t>
            </a:r>
            <a:r>
              <a:rPr lang="en-US" b="0" i="0" dirty="0" err="1">
                <a:solidFill>
                  <a:srgbClr val="1F1F1F"/>
                </a:solidFill>
                <a:effectLst/>
                <a:latin typeface="Google Sans"/>
              </a:rPr>
              <a:t>etc</a:t>
            </a:r>
            <a:endParaRPr lang="en-US" b="0" i="0" dirty="0">
              <a:solidFill>
                <a:srgbClr val="1F1F1F"/>
              </a:solidFill>
              <a:effectLst/>
              <a:latin typeface="Google Sans"/>
            </a:endParaRPr>
          </a:p>
          <a:p>
            <a:pPr algn="l">
              <a:buFont typeface="Arial" panose="020B0604020202020204" pitchFamily="34" charset="0"/>
              <a:buChar char="•"/>
            </a:pPr>
            <a:r>
              <a:rPr lang="en-US" b="0" i="0" dirty="0">
                <a:solidFill>
                  <a:srgbClr val="1F1F1F"/>
                </a:solidFill>
                <a:effectLst/>
                <a:latin typeface="Google Sans"/>
              </a:rPr>
              <a:t>A black employee may be stereotyped as being lazy, unintelligent or aggressive by their colleagues - Lazy (Tired) during </a:t>
            </a:r>
            <a:r>
              <a:rPr lang="en-US" b="0" i="0" dirty="0" err="1">
                <a:solidFill>
                  <a:srgbClr val="1F1F1F"/>
                </a:solidFill>
                <a:effectLst/>
                <a:latin typeface="Google Sans"/>
              </a:rPr>
              <a:t>Ramadam</a:t>
            </a:r>
            <a:r>
              <a:rPr lang="en-US" b="0" i="0" dirty="0">
                <a:solidFill>
                  <a:srgbClr val="1F1F1F"/>
                </a:solidFill>
                <a:effectLst/>
                <a:latin typeface="Google Sans"/>
              </a:rPr>
              <a:t> Muslim Fasting</a:t>
            </a:r>
            <a:endParaRPr lang="en-GB" dirty="0"/>
          </a:p>
          <a:p>
            <a:endParaRPr lang="en-GB" dirty="0"/>
          </a:p>
          <a:p>
            <a:r>
              <a:rPr lang="en-GB" dirty="0"/>
              <a:t>Poses the question.. “Is there a problem with being Black?”, Martin Luther King Jr. put in succinctly in his famous quote.</a:t>
            </a:r>
          </a:p>
        </p:txBody>
      </p:sp>
      <p:sp>
        <p:nvSpPr>
          <p:cNvPr id="4" name="Slide Number Placeholder 3">
            <a:extLst>
              <a:ext uri="{FF2B5EF4-FFF2-40B4-BE49-F238E27FC236}">
                <a16:creationId xmlns:a16="http://schemas.microsoft.com/office/drawing/2014/main" id="{B4B4F93F-0B5A-7E26-71A0-2B5394E976AB}"/>
              </a:ext>
            </a:extLst>
          </p:cNvPr>
          <p:cNvSpPr>
            <a:spLocks noGrp="1"/>
          </p:cNvSpPr>
          <p:nvPr>
            <p:ph type="sldNum" sz="quarter" idx="5"/>
          </p:nvPr>
        </p:nvSpPr>
        <p:spPr/>
        <p:txBody>
          <a:bodyPr/>
          <a:lstStyle/>
          <a:p>
            <a:fld id="{8A244BF3-AA63-413F-ADDB-AAAC138AC4E8}" type="slidenum">
              <a:rPr lang="en-GB" smtClean="0"/>
              <a:t>27</a:t>
            </a:fld>
            <a:endParaRPr lang="en-GB"/>
          </a:p>
        </p:txBody>
      </p:sp>
    </p:spTree>
    <p:extLst>
      <p:ext uri="{BB962C8B-B14F-4D97-AF65-F5344CB8AC3E}">
        <p14:creationId xmlns:p14="http://schemas.microsoft.com/office/powerpoint/2010/main" val="22915474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2"/>
        <p:cNvGrpSpPr/>
        <p:nvPr/>
      </p:nvGrpSpPr>
      <p:grpSpPr>
        <a:xfrm>
          <a:off x="0" y="0"/>
          <a:ext cx="0" cy="0"/>
          <a:chOff x="0" y="0"/>
          <a:chExt cx="0" cy="0"/>
        </a:xfrm>
      </p:grpSpPr>
      <p:sp>
        <p:nvSpPr>
          <p:cNvPr id="483" name="Google Shape;483;ga073618e60_0_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4" name="Google Shape;484;ga073618e60_0_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I have a dream” quote to support content on workplace discrimination</a:t>
            </a:r>
            <a:endParaRPr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a:p>
            <a:pPr algn="just"/>
            <a:r>
              <a:rPr lang="en-US" sz="2000" dirty="0"/>
              <a:t>Microaggressions are subtle comments, actions and everyday behaviors that communicate negative or hostile messages towards marginalized individuals or groups, often based on their race, gender, or other characteristics.</a:t>
            </a:r>
          </a:p>
          <a:p>
            <a:pPr algn="just"/>
            <a:endParaRPr lang="en-US" sz="2000" dirty="0"/>
          </a:p>
          <a:p>
            <a:pPr algn="just"/>
            <a:r>
              <a:rPr lang="en-US" sz="2000" dirty="0"/>
              <a:t>These actions can be subtle and may not always be intended to harm, but they can have a harmful and cumulative effect on the recipients. </a:t>
            </a:r>
          </a:p>
          <a:p>
            <a:pPr algn="just"/>
            <a:endParaRPr lang="en-US" sz="2000" dirty="0"/>
          </a:p>
          <a:p>
            <a:pPr algn="just"/>
            <a:r>
              <a:rPr lang="en-US" sz="2000" dirty="0"/>
              <a:t>Let’s look at the examples in the slide...</a:t>
            </a:r>
          </a:p>
          <a:p>
            <a:pPr algn="just"/>
            <a:endParaRPr lang="en-US" sz="2000" dirty="0"/>
          </a:p>
          <a:p>
            <a:pPr algn="just"/>
            <a:r>
              <a:rPr lang="en-US" sz="2000" dirty="0"/>
              <a:t>*You just don’t understand* - negative assumptions related to intelligence </a:t>
            </a:r>
          </a:p>
          <a:p>
            <a:pPr algn="just"/>
            <a:r>
              <a:rPr lang="en-US" sz="2000" dirty="0"/>
              <a:t>*Where are your papers?* - discriminatory but considered for jokes</a:t>
            </a:r>
          </a:p>
          <a:p>
            <a:pPr algn="just"/>
            <a:r>
              <a:rPr lang="en-US" sz="2000" dirty="0"/>
              <a:t>*That was not offensive, you’re being sensitive*  - most common, not intended for harm but can be very harmful </a:t>
            </a:r>
            <a:r>
              <a:rPr lang="en-US" sz="2000" dirty="0" err="1"/>
              <a:t>i.e</a:t>
            </a:r>
            <a:r>
              <a:rPr lang="en-US" sz="2000" dirty="0"/>
              <a:t> racial slurs </a:t>
            </a:r>
          </a:p>
          <a:p>
            <a:pPr algn="just"/>
            <a:endParaRPr lang="en-US" sz="2000" dirty="0"/>
          </a:p>
          <a:p>
            <a:pPr algn="just"/>
            <a:endParaRPr lang="en-US" sz="2000" dirty="0"/>
          </a:p>
          <a:p>
            <a:pPr algn="just"/>
            <a:endParaRPr lang="en-US" dirty="0"/>
          </a:p>
          <a:p>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29</a:t>
            </a:fld>
            <a:endParaRPr lang="en-GB"/>
          </a:p>
        </p:txBody>
      </p:sp>
    </p:spTree>
    <p:extLst>
      <p:ext uri="{BB962C8B-B14F-4D97-AF65-F5344CB8AC3E}">
        <p14:creationId xmlns:p14="http://schemas.microsoft.com/office/powerpoint/2010/main" val="950787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My name is Abimbola – Born Into Wealth</a:t>
            </a:r>
          </a:p>
          <a:p>
            <a:pPr marL="285750" indent="-285750">
              <a:buFont typeface="Arial" panose="020B0604020202020204" pitchFamily="34" charset="0"/>
              <a:buChar char="•"/>
            </a:pPr>
            <a:r>
              <a:rPr lang="en-US" dirty="0"/>
              <a:t>This is what I look like when I’m not working.. Also, on my socials!</a:t>
            </a:r>
            <a:endParaRPr lang="en-GB" b="0" i="0" dirty="0">
              <a:solidFill>
                <a:srgbClr val="374151"/>
              </a:solidFill>
              <a:effectLst/>
              <a:latin typeface="Söhne"/>
            </a:endParaRPr>
          </a:p>
          <a:p>
            <a:pPr algn="l"/>
            <a:endParaRPr lang="en-GB" b="0" i="0" dirty="0">
              <a:solidFill>
                <a:srgbClr val="374151"/>
              </a:solidFill>
              <a:effectLst/>
              <a:latin typeface="Söhne"/>
            </a:endParaRPr>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230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Micro aggressions can also be negative assumptions related to criminal behavior. Let’s look at that..</a:t>
            </a:r>
          </a:p>
          <a:p>
            <a:pPr algn="just"/>
            <a:endParaRPr lang="en-US" dirty="0"/>
          </a:p>
          <a:p>
            <a:pPr algn="just"/>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peaks to the fact that:</a:t>
            </a:r>
            <a:br>
              <a:rPr lang="en-US" dirty="0"/>
            </a:br>
            <a:br>
              <a:rPr lang="en-US" dirty="0"/>
            </a:br>
            <a:r>
              <a:rPr lang="en-US" b="0" i="0" dirty="0">
                <a:solidFill>
                  <a:srgbClr val="1F1F1F"/>
                </a:solidFill>
                <a:effectLst/>
                <a:latin typeface="Google Sans"/>
              </a:rPr>
              <a:t>A black employee may be treated with suspicion or distrust by their colleagues or supervisors and there might be no channel of reporting such hence no repercussion for such cruel actions</a:t>
            </a:r>
          </a:p>
          <a:p>
            <a:pPr algn="l">
              <a:buFont typeface="Arial" panose="020B0604020202020204" pitchFamily="34" charset="0"/>
              <a:buChar char="•"/>
            </a:pPr>
            <a:endParaRPr lang="en-US" b="0" i="0" dirty="0">
              <a:solidFill>
                <a:srgbClr val="1F1F1F"/>
              </a:solidFill>
              <a:effectLst/>
              <a:latin typeface="Google Sans"/>
            </a:endParaRPr>
          </a:p>
          <a:p>
            <a:br>
              <a:rPr lang="en-US" dirty="0"/>
            </a:br>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30</a:t>
            </a:fld>
            <a:endParaRPr lang="en-GB"/>
          </a:p>
        </p:txBody>
      </p:sp>
    </p:spTree>
    <p:extLst>
      <p:ext uri="{BB962C8B-B14F-4D97-AF65-F5344CB8AC3E}">
        <p14:creationId xmlns:p14="http://schemas.microsoft.com/office/powerpoint/2010/main" val="22232925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9"/>
        <p:cNvGrpSpPr/>
        <p:nvPr/>
      </p:nvGrpSpPr>
      <p:grpSpPr>
        <a:xfrm>
          <a:off x="0" y="0"/>
          <a:ext cx="0" cy="0"/>
          <a:chOff x="0" y="0"/>
          <a:chExt cx="0" cy="0"/>
        </a:xfrm>
      </p:grpSpPr>
      <p:sp>
        <p:nvSpPr>
          <p:cNvPr id="500" name="Google Shape;500;ga073618e60_0_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1" name="Google Shape;501;ga073618e60_0_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Now that have seen these three challenges of Code Switching, Workplace Ethnic and Racial Discrimination and Micro-Aggres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 Let’s have a look at what we can do to correct such ills, making the workplace better for black employees to attain Black excellence</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21706159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and everyone of us can take steps to address these challenges; here are some actions that can be taken (call to action): </a:t>
            </a:r>
          </a:p>
          <a:p>
            <a:endParaRPr lang="en-US" dirty="0"/>
          </a:p>
          <a:p>
            <a:pPr marL="285750" indent="-285750">
              <a:buFont typeface="Arial" panose="020B0604020202020204" pitchFamily="34" charset="0"/>
              <a:buChar char="•"/>
            </a:pPr>
            <a:r>
              <a:rPr lang="en-US" dirty="0"/>
              <a:t>1. Educate yourself on the experiences of Black employees and the challenges they face</a:t>
            </a:r>
          </a:p>
          <a:p>
            <a:pPr marL="285750" indent="-285750">
              <a:buFont typeface="Arial" panose="020B0604020202020204" pitchFamily="34" charset="0"/>
              <a:buChar char="•"/>
            </a:pPr>
            <a:endParaRPr lang="en-US"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2. Actively listen to Black colleagues and create a safe space for them to share their experien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3. Challenge your own biases and assumptions and be mindful of your a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0D0D0D"/>
                </a:solidFill>
                <a:effectLst/>
                <a:latin typeface="Söhne"/>
              </a:rPr>
              <a:t>4. As organizations, offer practical strategies and best practices for promoting diversity and inclusion in the workplace, including policies, training programs, mentorship initiatives, and diversity recruitment efforts to be actual equal opportunity employ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285750" indent="-285750">
              <a:buFont typeface="Arial" panose="020B0604020202020204" pitchFamily="34" charset="0"/>
              <a:buChar char="•"/>
            </a:pPr>
            <a:r>
              <a:rPr lang="en-US" dirty="0"/>
              <a:t>5. Speak up when you witness any of these. Borrowing the words of the British Transport Police: “This is a security message. If you see something that doesn’t look right, speak to staff and we’ll sort it.  See it, Say it, Sorted!</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32</a:t>
            </a:fld>
            <a:endParaRPr lang="en-GB"/>
          </a:p>
        </p:txBody>
      </p:sp>
    </p:spTree>
    <p:extLst>
      <p:ext uri="{BB962C8B-B14F-4D97-AF65-F5344CB8AC3E}">
        <p14:creationId xmlns:p14="http://schemas.microsoft.com/office/powerpoint/2010/main" val="32320478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In conclusion, this picture is indicative of a diverse and inclusive workplace where everyone is happy; you can see:</a:t>
            </a:r>
            <a:br>
              <a:rPr lang="en-GB" dirty="0"/>
            </a:br>
            <a:endParaRPr lang="en-GB"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miling Muslim lady with the Hijab (head covering) at the bac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Black people on righ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Everyone else</a:t>
            </a:r>
          </a:p>
          <a:p>
            <a:endParaRPr lang="en-GB" dirty="0"/>
          </a:p>
          <a:p>
            <a:r>
              <a:rPr lang="en-GB" dirty="0"/>
              <a:t>This represents the racial diversity that should be in workplace and of course in every part of our society</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re is strength in diversity, hence the reason we must start/continue to showcase our talents and celebrate our divers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n a final note, as everyone is in this picture and as we mean to continue,  Please be kind!</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p:txBody>
      </p:sp>
      <p:sp>
        <p:nvSpPr>
          <p:cNvPr id="4" name="Slide Number Placeholder 3"/>
          <p:cNvSpPr>
            <a:spLocks noGrp="1"/>
          </p:cNvSpPr>
          <p:nvPr>
            <p:ph type="sldNum" sz="quarter" idx="5"/>
          </p:nvPr>
        </p:nvSpPr>
        <p:spPr/>
        <p:txBody>
          <a:bodyPr/>
          <a:lstStyle/>
          <a:p>
            <a:fld id="{8A244BF3-AA63-413F-ADDB-AAAC138AC4E8}" type="slidenum">
              <a:rPr lang="en-GB" smtClean="0"/>
              <a:t>33</a:t>
            </a:fld>
            <a:endParaRPr lang="en-GB"/>
          </a:p>
        </p:txBody>
      </p:sp>
    </p:spTree>
    <p:extLst>
      <p:ext uri="{BB962C8B-B14F-4D97-AF65-F5344CB8AC3E}">
        <p14:creationId xmlns:p14="http://schemas.microsoft.com/office/powerpoint/2010/main" val="627961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8"/>
        <p:cNvGrpSpPr/>
        <p:nvPr/>
      </p:nvGrpSpPr>
      <p:grpSpPr>
        <a:xfrm>
          <a:off x="0" y="0"/>
          <a:ext cx="0" cy="0"/>
          <a:chOff x="0" y="0"/>
          <a:chExt cx="0" cy="0"/>
        </a:xfrm>
      </p:grpSpPr>
      <p:sp>
        <p:nvSpPr>
          <p:cNvPr id="789" name="Google Shape;789;ga073618e60_0_7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0" name="Google Shape;790;ga073618e60_0_7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ank you for participating and liste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lease scan the QR to connect with me Linked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s now time to see the winner of the trivia and for prize presentation.. *drumrolls*</a:t>
            </a:r>
          </a:p>
          <a:p>
            <a:pPr marL="0" lvl="0" indent="0" algn="l" rtl="0">
              <a:spcBef>
                <a:spcPts val="0"/>
              </a:spcBef>
              <a:spcAft>
                <a:spcPts val="0"/>
              </a:spcAft>
              <a:buNone/>
            </a:pPr>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igerian – West African country; World’s highest black population of over 200 million peo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or football lovers I’m an Arsenal Fan. Any arsenal fans in the room? – c’mon you gonners (COY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orn in Southeast London, many years ago ( not too many don’t worry). My Dad worked as a Medical Doctor in London for many years and had to move back home with us as there was no headway, to start from the scrat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me back to the UK for my masters in Data Science at Robert University in Aberdeen, Scotl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rrently a Database Administrator with Adatis Consulting Limited in London &amp; African living abroad</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oupled with some of the challenges of my parents, I’ve faced my own unique challenges, but more importantly achievements as an African abroad </a:t>
            </a:r>
          </a:p>
          <a:p>
            <a:pPr marL="0" indent="0">
              <a:buFont typeface="Arial" panose="020B0604020202020204" pitchFamily="34" charset="0"/>
              <a:buNone/>
            </a:pPr>
            <a:endParaRPr lang="en-US" dirty="0"/>
          </a:p>
          <a:p>
            <a:pPr marL="0" indent="0">
              <a:buFont typeface="Arial" panose="020B0604020202020204" pitchFamily="34" charset="0"/>
              <a:buNone/>
            </a:pPr>
            <a:r>
              <a:rPr lang="en-US" b="0" i="0" dirty="0">
                <a:solidFill>
                  <a:srgbClr val="0D0D0D"/>
                </a:solidFill>
                <a:effectLst/>
                <a:latin typeface="Söhne"/>
              </a:rPr>
              <a:t>Reflecting on these challenges, struggles, and achievements has helped me better appreciate the Black community, its history, and its significance (what it stands for)</a:t>
            </a:r>
            <a:endParaRPr lang="en-US" b="0" i="0" dirty="0">
              <a:solidFill>
                <a:srgbClr val="13343B"/>
              </a:solidFill>
              <a:effectLst/>
              <a:latin typeface="__fkGroteskNeue_532e43"/>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612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b="0" cap="none" dirty="0"/>
              <a:t>What is Black History? </a:t>
            </a:r>
          </a:p>
          <a:p>
            <a:endParaRPr lang="en-US" sz="1700" b="0" cap="none" dirty="0"/>
          </a:p>
          <a:p>
            <a:r>
              <a:rPr lang="en-US" sz="2800" b="0" i="0" dirty="0">
                <a:solidFill>
                  <a:srgbClr val="0D0D0D"/>
                </a:solidFill>
                <a:effectLst/>
                <a:latin typeface="Söhne"/>
              </a:rPr>
              <a:t>Black history refers to the collective experiences, struggles, contributions, and achievements of people of African descent, encompassing their rich cultural heritage, resilience in the face of oppression, and ongoing pursuit of diversity, equity and inclusion</a:t>
            </a:r>
          </a:p>
          <a:p>
            <a:endParaRPr lang="en-US" sz="2800" b="0" i="0" cap="none" dirty="0">
              <a:solidFill>
                <a:srgbClr val="0D0D0D"/>
              </a:solidFill>
              <a:effectLst/>
              <a:latin typeface="Söhne"/>
            </a:endParaRPr>
          </a:p>
          <a:p>
            <a:endParaRPr lang="en-US" sz="1700" b="0" cap="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cap="none" dirty="0"/>
              <a:t>Importance of Celebrating Black History (The “Why”)</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b="0" i="0" dirty="0">
                <a:solidFill>
                  <a:srgbClr val="0D0D0D"/>
                </a:solidFill>
                <a:effectLst/>
                <a:latin typeface="Söhne"/>
              </a:rPr>
              <a:t>Recognition and Representation: Acknowledging Black contributions ensures their stories are enshrined in history e.g. </a:t>
            </a:r>
            <a:r>
              <a:rPr lang="en-US" sz="1700" b="0" cap="none" dirty="0"/>
              <a:t>(</a:t>
            </a:r>
            <a:r>
              <a:rPr lang="en-US" sz="2800" b="1" i="0" dirty="0">
                <a:solidFill>
                  <a:srgbClr val="0D0D0D"/>
                </a:solidFill>
                <a:effectLst/>
                <a:latin typeface="Söhne"/>
              </a:rPr>
              <a:t>Impactful Black Innovators and Inventors &amp; Acknowledgment of Black Women's Contributions – Last year’s theme of Celebrating our Sisters</a:t>
            </a:r>
            <a:endParaRPr lang="en-US" sz="2800" b="0" i="0" dirty="0">
              <a:solidFill>
                <a:srgbClr val="0D0D0D"/>
              </a:solidFill>
              <a:effectLst/>
              <a:latin typeface="Söhne"/>
            </a:endParaRP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b="0" i="0" dirty="0">
                <a:solidFill>
                  <a:srgbClr val="0D0D0D"/>
                </a:solidFill>
                <a:effectLst/>
                <a:latin typeface="Söhne"/>
              </a:rPr>
              <a:t>Education and Awareness: Celebrating Black history raises awareness and understanding of diverse experiences.</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b="0" i="0" dirty="0">
                <a:solidFill>
                  <a:srgbClr val="0D0D0D"/>
                </a:solidFill>
                <a:effectLst/>
                <a:latin typeface="Söhne"/>
              </a:rPr>
              <a:t>Inspiration and Empowerment; combatting Stereotypes and building Inclusive communities or Societ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1" i="0" cap="none" dirty="0">
              <a:solidFill>
                <a:srgbClr val="0D0D0D"/>
              </a:solidFill>
              <a:effectLst/>
              <a:latin typeface="Söhne"/>
            </a:endParaRPr>
          </a:p>
          <a:p>
            <a:r>
              <a:rPr lang="en-US" sz="2800" b="0" cap="none" dirty="0"/>
              <a:t>Now, that you’ve heard from me on Black History and why we celebrate it, lets test your knowledge about Black History with an exciting trivia!</a:t>
            </a:r>
            <a:endParaRPr lang="en-US" sz="2800" b="1" i="0" cap="none" dirty="0">
              <a:solidFill>
                <a:srgbClr val="0D0D0D"/>
              </a:solidFill>
              <a:effectLst/>
              <a:latin typeface="Söhne"/>
            </a:endParaRPr>
          </a:p>
          <a:p>
            <a:endParaRPr lang="en-US" sz="1700" b="0" cap="none" dirty="0"/>
          </a:p>
          <a:p>
            <a:endParaRPr lang="en-US" sz="1700" b="0" cap="none" dirty="0"/>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0774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9"/>
        <p:cNvGrpSpPr/>
        <p:nvPr/>
      </p:nvGrpSpPr>
      <p:grpSpPr>
        <a:xfrm>
          <a:off x="0" y="0"/>
          <a:ext cx="0" cy="0"/>
          <a:chOff x="0" y="0"/>
          <a:chExt cx="0" cy="0"/>
        </a:xfrm>
      </p:grpSpPr>
      <p:sp>
        <p:nvSpPr>
          <p:cNvPr id="500" name="Google Shape;500;ga073618e60_0_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1" name="Google Shape;501;ga073618e60_0_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Please use your phone to scan the onscreen QR, input a player name and click on the heart or thumbs up emoji to let us know you've joined..</a:t>
            </a: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In what year did the UK first celebrate Black History Month? </a:t>
            </a:r>
          </a:p>
          <a:p>
            <a:pPr algn="l"/>
            <a:endParaRPr lang="en-GB" b="0" i="0" dirty="0">
              <a:solidFill>
                <a:srgbClr val="374151"/>
              </a:solidFill>
              <a:effectLst/>
              <a:latin typeface="Söhne"/>
            </a:endParaRPr>
          </a:p>
          <a:p>
            <a:pPr marL="228600" indent="-228600" algn="l">
              <a:buAutoNum type="alphaLcParenR"/>
            </a:pPr>
            <a:r>
              <a:rPr lang="en-GB" b="0" i="0" dirty="0">
                <a:solidFill>
                  <a:srgbClr val="374151"/>
                </a:solidFill>
                <a:effectLst/>
                <a:latin typeface="Söhne"/>
              </a:rPr>
              <a:t>1976</a:t>
            </a:r>
          </a:p>
          <a:p>
            <a:pPr marL="228600" indent="-228600" algn="l">
              <a:buAutoNum type="alphaLcParenR"/>
            </a:pPr>
            <a:r>
              <a:rPr lang="en-GB" b="0" i="0" dirty="0">
                <a:solidFill>
                  <a:srgbClr val="374151"/>
                </a:solidFill>
                <a:effectLst/>
                <a:latin typeface="Söhne"/>
              </a:rPr>
              <a:t>1984</a:t>
            </a:r>
          </a:p>
          <a:p>
            <a:pPr marL="228600" indent="-228600" algn="l">
              <a:buAutoNum type="alphaLcParenR"/>
            </a:pPr>
            <a:r>
              <a:rPr lang="en-GB" b="0" i="0" dirty="0">
                <a:solidFill>
                  <a:srgbClr val="374151"/>
                </a:solidFill>
                <a:effectLst/>
                <a:latin typeface="Söhne"/>
              </a:rPr>
              <a:t>1987</a:t>
            </a:r>
          </a:p>
          <a:p>
            <a:pPr marL="228600" indent="-228600" algn="l">
              <a:buAutoNum type="alphaLcParenR"/>
            </a:pPr>
            <a:r>
              <a:rPr lang="en-GB" b="0" i="0" dirty="0">
                <a:solidFill>
                  <a:srgbClr val="374151"/>
                </a:solidFill>
                <a:effectLst/>
                <a:latin typeface="Söhne"/>
              </a:rPr>
              <a:t>1960</a:t>
            </a:r>
          </a:p>
          <a:p>
            <a:pPr marL="228600" indent="-228600" algn="l">
              <a:buAutoNum type="alphaLcParenR"/>
            </a:pPr>
            <a:r>
              <a:rPr lang="en-GB" b="0" i="0" dirty="0">
                <a:solidFill>
                  <a:srgbClr val="374151"/>
                </a:solidFill>
                <a:effectLst/>
                <a:latin typeface="Söhne"/>
              </a:rPr>
              <a:t>1999</a:t>
            </a:r>
          </a:p>
          <a:p>
            <a:pPr algn="l"/>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3982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BDC1C6"/>
                </a:solidFill>
                <a:effectLst/>
                <a:latin typeface="Google Sans"/>
              </a:rPr>
              <a:t>C - 1987</a:t>
            </a:r>
          </a:p>
          <a:p>
            <a:pPr algn="l"/>
            <a:endParaRPr lang="en-GB" b="0" i="0" dirty="0">
              <a:solidFill>
                <a:srgbClr val="BDC1C6"/>
              </a:solidFill>
              <a:effectLst/>
              <a:latin typeface="Google Sans"/>
            </a:endParaRPr>
          </a:p>
          <a:p>
            <a:pPr algn="l"/>
            <a:r>
              <a:rPr lang="en-GB" b="0" i="0" dirty="0">
                <a:solidFill>
                  <a:srgbClr val="BDC1C6"/>
                </a:solidFill>
                <a:effectLst/>
                <a:latin typeface="Google Sans"/>
              </a:rPr>
              <a:t>The first Black History Month in the UK took place in</a:t>
            </a:r>
            <a:r>
              <a:rPr lang="en-GB" b="0" i="0" dirty="0">
                <a:solidFill>
                  <a:srgbClr val="E2EEFF"/>
                </a:solidFill>
                <a:effectLst/>
                <a:latin typeface="Google Sans"/>
              </a:rPr>
              <a:t>1987</a:t>
            </a:r>
            <a:r>
              <a:rPr lang="en-GB" b="0" i="0" dirty="0">
                <a:solidFill>
                  <a:srgbClr val="BDC1C6"/>
                </a:solidFill>
                <a:effectLst/>
                <a:latin typeface="Google Sans"/>
              </a:rPr>
              <a:t>, which marked the 150th anniversary of the abolition of slavery in the Caribbeans.</a:t>
            </a:r>
          </a:p>
          <a:p>
            <a:pPr algn="l"/>
            <a:endParaRPr lang="en-GB" b="0" i="0" dirty="0">
              <a:solidFill>
                <a:srgbClr val="BDC1C6"/>
              </a:solidFill>
              <a:effectLst/>
              <a:latin typeface="Google Sans"/>
            </a:endParaRPr>
          </a:p>
          <a:p>
            <a:pPr algn="l"/>
            <a:r>
              <a:rPr lang="en-US" b="0" i="0" dirty="0">
                <a:solidFill>
                  <a:srgbClr val="0D0D0D"/>
                </a:solidFill>
                <a:effectLst/>
                <a:latin typeface="Söhne"/>
              </a:rPr>
              <a:t>This was arranged by Akyaaba Addai-</a:t>
            </a:r>
            <a:r>
              <a:rPr lang="en-US" b="0" i="0" dirty="0" err="1">
                <a:solidFill>
                  <a:srgbClr val="0D0D0D"/>
                </a:solidFill>
                <a:effectLst/>
                <a:latin typeface="Söhne"/>
              </a:rPr>
              <a:t>Sebo</a:t>
            </a:r>
            <a:r>
              <a:rPr lang="en-US" b="0" i="0" dirty="0">
                <a:solidFill>
                  <a:srgbClr val="0D0D0D"/>
                </a:solidFill>
                <a:effectLst/>
                <a:latin typeface="Söhne"/>
              </a:rPr>
              <a:t>, a Ghanaian refugee turned activist.</a:t>
            </a:r>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060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E8EAED"/>
                </a:solidFill>
                <a:effectLst/>
                <a:latin typeface="Google Sans"/>
              </a:rPr>
              <a:t>What are the three colours of the main Black history or Pan-African flag?</a:t>
            </a:r>
          </a:p>
          <a:p>
            <a:pPr algn="l"/>
            <a:endParaRPr lang="en-US" b="0" i="0" dirty="0">
              <a:solidFill>
                <a:srgbClr val="374151"/>
              </a:solidFill>
              <a:effectLst/>
              <a:latin typeface="Söhne"/>
            </a:endParaRPr>
          </a:p>
          <a:p>
            <a:pPr algn="l"/>
            <a:r>
              <a:rPr lang="en-US" b="0" i="0" dirty="0">
                <a:solidFill>
                  <a:srgbClr val="374151"/>
                </a:solidFill>
                <a:effectLst/>
                <a:latin typeface="Söhne"/>
              </a:rPr>
              <a:t>a) Red, black, and yellow</a:t>
            </a:r>
          </a:p>
          <a:p>
            <a:pPr algn="l"/>
            <a:r>
              <a:rPr lang="en-US" b="0" i="0" dirty="0">
                <a:solidFill>
                  <a:srgbClr val="374151"/>
                </a:solidFill>
                <a:effectLst/>
                <a:latin typeface="Söhne"/>
              </a:rPr>
              <a:t>b) Red, green, and blue</a:t>
            </a:r>
          </a:p>
          <a:p>
            <a:pPr algn="l"/>
            <a:r>
              <a:rPr lang="en-US" b="0" i="0" dirty="0">
                <a:solidFill>
                  <a:srgbClr val="374151"/>
                </a:solidFill>
                <a:effectLst/>
                <a:latin typeface="Söhne"/>
              </a:rPr>
              <a:t>c) Red, white, and blue</a:t>
            </a:r>
          </a:p>
          <a:p>
            <a:pPr algn="l"/>
            <a:r>
              <a:rPr lang="en-US" b="0" i="0" dirty="0">
                <a:solidFill>
                  <a:srgbClr val="374151"/>
                </a:solidFill>
                <a:effectLst/>
                <a:latin typeface="Söhne"/>
              </a:rPr>
              <a:t>d) Red, black, and green</a:t>
            </a:r>
          </a:p>
          <a:p>
            <a:pPr algn="l"/>
            <a:r>
              <a:rPr lang="en-US" b="0" i="0" dirty="0">
                <a:solidFill>
                  <a:srgbClr val="374151"/>
                </a:solidFill>
                <a:effectLst/>
                <a:latin typeface="Söhne"/>
              </a:rPr>
              <a:t>e) Black, yellow, and green</a:t>
            </a:r>
            <a:endParaRPr lang="en-GB"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8F24FF-10B6-4BB2-A1BC-7D31E5B8F6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6841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5.png"/><Relationship Id="rId7" Type="http://schemas.openxmlformats.org/officeDocument/2006/relationships/hyperlink" Target="https://twitter.com/SlidesManiaSM/" TargetMode="External"/><Relationship Id="rId12" Type="http://schemas.openxmlformats.org/officeDocument/2006/relationships/image" Target="../media/image19.png"/><Relationship Id="rId2" Type="http://schemas.openxmlformats.org/officeDocument/2006/relationships/hyperlink" Target="https://slidesmania.com/" TargetMode="External"/><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hyperlink" Target="https://www.instagram.com/slidesmania/" TargetMode="External"/><Relationship Id="rId5" Type="http://schemas.openxmlformats.org/officeDocument/2006/relationships/hyperlink" Target="https://www.facebook.com/SlidesManiaSM/" TargetMode="External"/><Relationship Id="rId10" Type="http://schemas.openxmlformats.org/officeDocument/2006/relationships/image" Target="../media/image18.png"/><Relationship Id="rId4" Type="http://schemas.openxmlformats.org/officeDocument/2006/relationships/hyperlink" Target="https://slidesmania.com/questions-powerpoint-google-slides/can-i-use-these-templates/" TargetMode="External"/><Relationship Id="rId9" Type="http://schemas.openxmlformats.org/officeDocument/2006/relationships/hyperlink" Target="https://www.pinterest.com/slidesmania/" TargetMode="Externa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335366" y="2125980"/>
            <a:ext cx="5227236"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1631504" y="3066622"/>
            <a:ext cx="3930144" cy="276999"/>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431324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62001" y="1524001"/>
            <a:ext cx="10688625" cy="553998"/>
          </a:xfrm>
        </p:spPr>
        <p:txBody>
          <a:bodyPr lIns="0" tIns="0" rIns="0" bIns="0"/>
          <a:lstStyle>
            <a:lvl1pPr>
              <a:defRPr sz="3600" b="1" i="0">
                <a:solidFill>
                  <a:schemeClr val="bg1"/>
                </a:solidFill>
                <a:latin typeface="Ubuntu"/>
                <a:cs typeface="Ubuntu"/>
              </a:defRPr>
            </a:lvl1pPr>
          </a:lstStyle>
          <a:p>
            <a:r>
              <a:rPr lang="en-US"/>
              <a:t>Click to edit Master title style</a:t>
            </a:r>
            <a:endParaRPr/>
          </a:p>
        </p:txBody>
      </p:sp>
      <p:sp>
        <p:nvSpPr>
          <p:cNvPr id="10" name="Holder 3">
            <a:extLst>
              <a:ext uri="{FF2B5EF4-FFF2-40B4-BE49-F238E27FC236}">
                <a16:creationId xmlns:a16="http://schemas.microsoft.com/office/drawing/2014/main" id="{FA15D062-7D57-ED44-8E3C-E49CF0B9F331}"/>
              </a:ext>
            </a:extLst>
          </p:cNvPr>
          <p:cNvSpPr>
            <a:spLocks noGrp="1"/>
          </p:cNvSpPr>
          <p:nvPr>
            <p:ph type="body" idx="1"/>
          </p:nvPr>
        </p:nvSpPr>
        <p:spPr>
          <a:xfrm>
            <a:off x="762002" y="2298625"/>
            <a:ext cx="10688626"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307292F3-80B0-3A4D-9177-56C1C8FEDE93}"/>
              </a:ext>
            </a:extLst>
          </p:cNvPr>
          <p:cNvSpPr>
            <a:spLocks noGrp="1"/>
          </p:cNvSpPr>
          <p:nvPr>
            <p:ph type="body" sz="quarter" idx="11"/>
          </p:nvPr>
        </p:nvSpPr>
        <p:spPr>
          <a:xfrm>
            <a:off x="762000" y="3048000"/>
            <a:ext cx="10688626" cy="1384995"/>
          </a:xfrm>
        </p:spPr>
        <p:txBody>
          <a:bodyPr/>
          <a:lstStyle>
            <a:lvl1pPr>
              <a:lnSpc>
                <a:spcPct val="100000"/>
              </a:lnSpc>
              <a:defRPr sz="1800" b="0">
                <a:solidFill>
                  <a:schemeClr val="bg2">
                    <a:lumMod val="50000"/>
                  </a:schemeClr>
                </a:solidFill>
              </a:defRPr>
            </a:lvl1pPr>
            <a:lvl2pPr>
              <a:lnSpc>
                <a:spcPct val="100000"/>
              </a:lnSpc>
              <a:defRPr sz="1800" b="0">
                <a:solidFill>
                  <a:schemeClr val="bg2">
                    <a:lumMod val="50000"/>
                  </a:schemeClr>
                </a:solidFill>
              </a:defRPr>
            </a:lvl2pPr>
            <a:lvl3pPr>
              <a:lnSpc>
                <a:spcPct val="100000"/>
              </a:lnSpc>
              <a:defRPr sz="1800" b="0">
                <a:solidFill>
                  <a:schemeClr val="bg2">
                    <a:lumMod val="50000"/>
                  </a:schemeClr>
                </a:solidFill>
              </a:defRPr>
            </a:lvl3pPr>
            <a:lvl4pPr>
              <a:lnSpc>
                <a:spcPct val="100000"/>
              </a:lnSpc>
              <a:defRPr sz="1800" b="0">
                <a:solidFill>
                  <a:schemeClr val="bg2">
                    <a:lumMod val="50000"/>
                  </a:schemeClr>
                </a:solidFill>
              </a:defRPr>
            </a:lvl4pPr>
            <a:lvl5pPr>
              <a:lnSpc>
                <a:spcPct val="100000"/>
              </a:lnSpc>
              <a:defRPr sz="18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82226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
    <p:bg>
      <p:bgPr>
        <a:gradFill>
          <a:gsLst>
            <a:gs pos="0">
              <a:schemeClr val="tx2"/>
            </a:gs>
            <a:gs pos="100000">
              <a:schemeClr val="accent3"/>
            </a:gs>
            <a:gs pos="59000">
              <a:srgbClr val="0A4D87"/>
            </a:gs>
          </a:gsLst>
          <a:lin ang="4200000" scaled="0"/>
        </a:gradFill>
        <a:effectLst/>
      </p:bgPr>
    </p:bg>
    <p:spTree>
      <p:nvGrpSpPr>
        <p:cNvPr id="1" name=""/>
        <p:cNvGrpSpPr/>
        <p:nvPr/>
      </p:nvGrpSpPr>
      <p:grpSpPr>
        <a:xfrm>
          <a:off x="0" y="0"/>
          <a:ext cx="0" cy="0"/>
          <a:chOff x="0" y="0"/>
          <a:chExt cx="0" cy="0"/>
        </a:xfrm>
      </p:grpSpPr>
      <p:pic>
        <p:nvPicPr>
          <p:cNvPr id="2" name="Picture 1" descr="A black background with white text&#10;&#10;Description automatically generated">
            <a:extLst>
              <a:ext uri="{FF2B5EF4-FFF2-40B4-BE49-F238E27FC236}">
                <a16:creationId xmlns:a16="http://schemas.microsoft.com/office/drawing/2014/main" id="{2C5AD21F-7921-1A27-F216-7A9B393BD5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49008" y="2374047"/>
            <a:ext cx="4093984" cy="2109906"/>
          </a:xfrm>
          <a:prstGeom prst="rect">
            <a:avLst/>
          </a:prstGeom>
        </p:spPr>
      </p:pic>
    </p:spTree>
    <p:extLst>
      <p:ext uri="{BB962C8B-B14F-4D97-AF65-F5344CB8AC3E}">
        <p14:creationId xmlns:p14="http://schemas.microsoft.com/office/powerpoint/2010/main" val="40638065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2">
    <p:bg>
      <p:bgPr>
        <a:gradFill>
          <a:gsLst>
            <a:gs pos="0">
              <a:schemeClr val="tx2"/>
            </a:gs>
            <a:gs pos="100000">
              <a:schemeClr val="accent3"/>
            </a:gs>
            <a:gs pos="59000">
              <a:srgbClr val="0A4D87"/>
            </a:gs>
          </a:gsLst>
          <a:lin ang="4200000" scaled="0"/>
        </a:gradFill>
        <a:effectLst/>
      </p:bgPr>
    </p:bg>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FFDEB990-3F84-4683-518C-32CE07598F3F}"/>
              </a:ext>
            </a:extLst>
          </p:cNvPr>
          <p:cNvSpPr>
            <a:spLocks noGrp="1"/>
          </p:cNvSpPr>
          <p:nvPr>
            <p:ph type="body" sz="quarter" idx="15" hasCustomPrompt="1"/>
          </p:nvPr>
        </p:nvSpPr>
        <p:spPr>
          <a:xfrm>
            <a:off x="840658" y="1710694"/>
            <a:ext cx="10921130" cy="365125"/>
          </a:xfrm>
          <a:prstGeom prst="rect">
            <a:avLst/>
          </a:prstGeom>
        </p:spPr>
        <p:txBody>
          <a:bodyP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18" name="Text Placeholder 14">
            <a:extLst>
              <a:ext uri="{FF2B5EF4-FFF2-40B4-BE49-F238E27FC236}">
                <a16:creationId xmlns:a16="http://schemas.microsoft.com/office/drawing/2014/main" id="{7029C248-3656-83E9-78EF-C4EA58E1C248}"/>
              </a:ext>
            </a:extLst>
          </p:cNvPr>
          <p:cNvSpPr>
            <a:spLocks noGrp="1"/>
          </p:cNvSpPr>
          <p:nvPr>
            <p:ph type="body" sz="quarter" idx="17" hasCustomPrompt="1"/>
          </p:nvPr>
        </p:nvSpPr>
        <p:spPr>
          <a:xfrm>
            <a:off x="840658" y="2373238"/>
            <a:ext cx="10921130" cy="365125"/>
          </a:xfrm>
          <a:prstGeom prst="rect">
            <a:avLst/>
          </a:prstGeom>
        </p:spPr>
        <p:txBody>
          <a:bodyP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19" name="Text Placeholder 14">
            <a:extLst>
              <a:ext uri="{FF2B5EF4-FFF2-40B4-BE49-F238E27FC236}">
                <a16:creationId xmlns:a16="http://schemas.microsoft.com/office/drawing/2014/main" id="{BAFE137C-8749-FF40-903C-14881A3A2493}"/>
              </a:ext>
            </a:extLst>
          </p:cNvPr>
          <p:cNvSpPr>
            <a:spLocks noGrp="1"/>
          </p:cNvSpPr>
          <p:nvPr>
            <p:ph type="body" sz="quarter" idx="19" hasCustomPrompt="1"/>
          </p:nvPr>
        </p:nvSpPr>
        <p:spPr>
          <a:xfrm>
            <a:off x="840658" y="3038966"/>
            <a:ext cx="10921130" cy="365125"/>
          </a:xfrm>
          <a:prstGeom prst="rect">
            <a:avLst/>
          </a:prstGeom>
        </p:spPr>
        <p:txBody>
          <a:bodyP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20" name="Text Placeholder 14">
            <a:extLst>
              <a:ext uri="{FF2B5EF4-FFF2-40B4-BE49-F238E27FC236}">
                <a16:creationId xmlns:a16="http://schemas.microsoft.com/office/drawing/2014/main" id="{A087DF38-409C-BF29-19F1-88333B18F0F8}"/>
              </a:ext>
            </a:extLst>
          </p:cNvPr>
          <p:cNvSpPr>
            <a:spLocks noGrp="1"/>
          </p:cNvSpPr>
          <p:nvPr>
            <p:ph type="body" sz="quarter" idx="21" hasCustomPrompt="1"/>
          </p:nvPr>
        </p:nvSpPr>
        <p:spPr>
          <a:xfrm>
            <a:off x="840658" y="3704694"/>
            <a:ext cx="10921130" cy="365125"/>
          </a:xfrm>
          <a:prstGeom prst="rect">
            <a:avLst/>
          </a:prstGeom>
        </p:spPr>
        <p:txBody>
          <a:bodyP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21" name="Text Placeholder 14">
            <a:extLst>
              <a:ext uri="{FF2B5EF4-FFF2-40B4-BE49-F238E27FC236}">
                <a16:creationId xmlns:a16="http://schemas.microsoft.com/office/drawing/2014/main" id="{68BB6C20-A346-D8B7-FF1B-4B9E70579DEC}"/>
              </a:ext>
            </a:extLst>
          </p:cNvPr>
          <p:cNvSpPr>
            <a:spLocks noGrp="1"/>
          </p:cNvSpPr>
          <p:nvPr>
            <p:ph type="body" sz="quarter" idx="22" hasCustomPrompt="1"/>
          </p:nvPr>
        </p:nvSpPr>
        <p:spPr>
          <a:xfrm>
            <a:off x="840658" y="4401492"/>
            <a:ext cx="10921130" cy="365125"/>
          </a:xfrm>
          <a:prstGeom prst="rect">
            <a:avLst/>
          </a:prstGeom>
        </p:spPr>
        <p:txBody>
          <a:bodyP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22" name="Text Placeholder 14">
            <a:extLst>
              <a:ext uri="{FF2B5EF4-FFF2-40B4-BE49-F238E27FC236}">
                <a16:creationId xmlns:a16="http://schemas.microsoft.com/office/drawing/2014/main" id="{953A66D5-B223-CBCC-45CE-50C8CB8E2C8F}"/>
              </a:ext>
            </a:extLst>
          </p:cNvPr>
          <p:cNvSpPr>
            <a:spLocks noGrp="1"/>
          </p:cNvSpPr>
          <p:nvPr>
            <p:ph type="body" sz="quarter" idx="23" hasCustomPrompt="1"/>
          </p:nvPr>
        </p:nvSpPr>
        <p:spPr>
          <a:xfrm>
            <a:off x="840658" y="5067220"/>
            <a:ext cx="10921130" cy="365125"/>
          </a:xfrm>
          <a:prstGeom prst="rect">
            <a:avLst/>
          </a:prstGeom>
        </p:spPr>
        <p:txBody>
          <a:bodyP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24" name="Title 1">
            <a:extLst>
              <a:ext uri="{FF2B5EF4-FFF2-40B4-BE49-F238E27FC236}">
                <a16:creationId xmlns:a16="http://schemas.microsoft.com/office/drawing/2014/main" id="{685E48B4-711F-A488-91CF-E0F76B43DD6E}"/>
              </a:ext>
            </a:extLst>
          </p:cNvPr>
          <p:cNvSpPr>
            <a:spLocks noGrp="1"/>
          </p:cNvSpPr>
          <p:nvPr>
            <p:ph type="title" hasCustomPrompt="1"/>
          </p:nvPr>
        </p:nvSpPr>
        <p:spPr>
          <a:xfrm>
            <a:off x="427588" y="341060"/>
            <a:ext cx="11334200" cy="979739"/>
          </a:xfrm>
          <a:prstGeom prst="rect">
            <a:avLst/>
          </a:prstGeom>
        </p:spPr>
        <p:txBody>
          <a:bodyPr anchor="ctr">
            <a:normAutofit/>
          </a:bodyPr>
          <a:lstStyle>
            <a:lvl1pPr>
              <a:defRPr sz="3000" b="1">
                <a:solidFill>
                  <a:schemeClr val="bg1"/>
                </a:solidFill>
                <a:latin typeface="Ubuntu" panose="020B0504030602030204" pitchFamily="34" charset="0"/>
              </a:defRPr>
            </a:lvl1pPr>
          </a:lstStyle>
          <a:p>
            <a:r>
              <a:rPr lang="en-US"/>
              <a:t>Click to edit Master title style</a:t>
            </a:r>
            <a:br>
              <a:rPr lang="en-US"/>
            </a:br>
            <a:r>
              <a:rPr lang="en-US"/>
              <a:t>Max 2 lines</a:t>
            </a:r>
            <a:endParaRPr lang="en-GB"/>
          </a:p>
        </p:txBody>
      </p:sp>
      <p:pic>
        <p:nvPicPr>
          <p:cNvPr id="2" name="Picture 1" descr="A black background with white text&#10;&#10;Description automatically generated">
            <a:extLst>
              <a:ext uri="{FF2B5EF4-FFF2-40B4-BE49-F238E27FC236}">
                <a16:creationId xmlns:a16="http://schemas.microsoft.com/office/drawing/2014/main" id="{4AC73521-0459-D624-E4B3-D018CFE24A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7885" y="6214115"/>
            <a:ext cx="1259507" cy="649109"/>
          </a:xfrm>
          <a:prstGeom prst="rect">
            <a:avLst/>
          </a:prstGeom>
        </p:spPr>
      </p:pic>
    </p:spTree>
    <p:extLst>
      <p:ext uri="{BB962C8B-B14F-4D97-AF65-F5344CB8AC3E}">
        <p14:creationId xmlns:p14="http://schemas.microsoft.com/office/powerpoint/2010/main" val="39327099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3" name="Text Placeholder 14">
            <a:extLst>
              <a:ext uri="{FF2B5EF4-FFF2-40B4-BE49-F238E27FC236}">
                <a16:creationId xmlns:a16="http://schemas.microsoft.com/office/drawing/2014/main" id="{E4E9C782-7922-46E9-8DFF-52792A170842}"/>
              </a:ext>
            </a:extLst>
          </p:cNvPr>
          <p:cNvSpPr>
            <a:spLocks noGrp="1"/>
          </p:cNvSpPr>
          <p:nvPr>
            <p:ph type="body" sz="quarter" idx="13" hasCustomPrompt="1"/>
          </p:nvPr>
        </p:nvSpPr>
        <p:spPr>
          <a:xfrm>
            <a:off x="840658" y="1391067"/>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4" name="Text Placeholder 14">
            <a:extLst>
              <a:ext uri="{FF2B5EF4-FFF2-40B4-BE49-F238E27FC236}">
                <a16:creationId xmlns:a16="http://schemas.microsoft.com/office/drawing/2014/main" id="{735507B9-E26F-3D8D-B0B5-204DEF3D3243}"/>
              </a:ext>
            </a:extLst>
          </p:cNvPr>
          <p:cNvSpPr>
            <a:spLocks noGrp="1"/>
          </p:cNvSpPr>
          <p:nvPr>
            <p:ph type="body" sz="quarter" idx="15" hasCustomPrompt="1"/>
          </p:nvPr>
        </p:nvSpPr>
        <p:spPr>
          <a:xfrm>
            <a:off x="840658" y="2055598"/>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5" name="Text Placeholder 14">
            <a:extLst>
              <a:ext uri="{FF2B5EF4-FFF2-40B4-BE49-F238E27FC236}">
                <a16:creationId xmlns:a16="http://schemas.microsoft.com/office/drawing/2014/main" id="{E51162A0-5047-7F1E-2F5D-896897EB4DB7}"/>
              </a:ext>
            </a:extLst>
          </p:cNvPr>
          <p:cNvSpPr>
            <a:spLocks noGrp="1"/>
          </p:cNvSpPr>
          <p:nvPr>
            <p:ph type="body" sz="quarter" idx="17" hasCustomPrompt="1"/>
          </p:nvPr>
        </p:nvSpPr>
        <p:spPr>
          <a:xfrm>
            <a:off x="840658" y="2718142"/>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6" name="Text Placeholder 14">
            <a:extLst>
              <a:ext uri="{FF2B5EF4-FFF2-40B4-BE49-F238E27FC236}">
                <a16:creationId xmlns:a16="http://schemas.microsoft.com/office/drawing/2014/main" id="{F3AB90E2-1348-5D56-A98D-E387DC0014C8}"/>
              </a:ext>
            </a:extLst>
          </p:cNvPr>
          <p:cNvSpPr>
            <a:spLocks noGrp="1"/>
          </p:cNvSpPr>
          <p:nvPr>
            <p:ph type="body" sz="quarter" idx="19" hasCustomPrompt="1"/>
          </p:nvPr>
        </p:nvSpPr>
        <p:spPr>
          <a:xfrm>
            <a:off x="840658" y="3383870"/>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7" name="Text Placeholder 14">
            <a:extLst>
              <a:ext uri="{FF2B5EF4-FFF2-40B4-BE49-F238E27FC236}">
                <a16:creationId xmlns:a16="http://schemas.microsoft.com/office/drawing/2014/main" id="{7C325FB9-B331-4268-F573-FC15C584D014}"/>
              </a:ext>
            </a:extLst>
          </p:cNvPr>
          <p:cNvSpPr>
            <a:spLocks noGrp="1"/>
          </p:cNvSpPr>
          <p:nvPr>
            <p:ph type="body" sz="quarter" idx="21" hasCustomPrompt="1"/>
          </p:nvPr>
        </p:nvSpPr>
        <p:spPr>
          <a:xfrm>
            <a:off x="840658" y="4049598"/>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8" name="Text Placeholder 14">
            <a:extLst>
              <a:ext uri="{FF2B5EF4-FFF2-40B4-BE49-F238E27FC236}">
                <a16:creationId xmlns:a16="http://schemas.microsoft.com/office/drawing/2014/main" id="{900509AF-F03E-5E4F-65C4-2C488B1DBAB9}"/>
              </a:ext>
            </a:extLst>
          </p:cNvPr>
          <p:cNvSpPr>
            <a:spLocks noGrp="1"/>
          </p:cNvSpPr>
          <p:nvPr>
            <p:ph type="body" sz="quarter" idx="22" hasCustomPrompt="1"/>
          </p:nvPr>
        </p:nvSpPr>
        <p:spPr>
          <a:xfrm>
            <a:off x="840658" y="4746396"/>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9" name="Text Placeholder 14">
            <a:extLst>
              <a:ext uri="{FF2B5EF4-FFF2-40B4-BE49-F238E27FC236}">
                <a16:creationId xmlns:a16="http://schemas.microsoft.com/office/drawing/2014/main" id="{0AEBE86B-FE2F-EFEF-8836-34B8D4D70E18}"/>
              </a:ext>
            </a:extLst>
          </p:cNvPr>
          <p:cNvSpPr>
            <a:spLocks noGrp="1"/>
          </p:cNvSpPr>
          <p:nvPr>
            <p:ph type="body" sz="quarter" idx="23" hasCustomPrompt="1"/>
          </p:nvPr>
        </p:nvSpPr>
        <p:spPr>
          <a:xfrm>
            <a:off x="840658" y="5412124"/>
            <a:ext cx="10921130" cy="365125"/>
          </a:xfrm>
          <a:prstGeom prst="rect">
            <a:avLst/>
          </a:prstGeom>
        </p:spPr>
        <p:txBody>
          <a:bodyPr>
            <a:normAutofit/>
          </a:bodyPr>
          <a:lstStyle>
            <a:lvl1pPr marL="228600" indent="-228600">
              <a:buClr>
                <a:schemeClr val="accent5"/>
              </a:buClr>
              <a:buFont typeface="Wingdings" panose="05000000000000000000" pitchFamily="2" charset="2"/>
              <a:buChar char="§"/>
              <a:defRPr sz="1800">
                <a:solidFill>
                  <a:schemeClr val="bg1">
                    <a:lumMod val="50000"/>
                  </a:schemeClr>
                </a:solidFill>
                <a:latin typeface="Ubuntu" panose="020B0504030602030204" pitchFamily="34" charset="0"/>
              </a:defRPr>
            </a:lvl1pPr>
            <a:lvl2pPr marL="685800" indent="-228600">
              <a:buFont typeface="Wingdings" panose="05000000000000000000" pitchFamily="2" charset="2"/>
              <a:buChar char="§"/>
              <a:defRPr>
                <a:solidFill>
                  <a:schemeClr val="bg1"/>
                </a:solidFill>
              </a:defRPr>
            </a:lvl2pPr>
            <a:lvl3pPr marL="1143000" indent="-228600">
              <a:buFont typeface="Wingdings" panose="05000000000000000000" pitchFamily="2" charset="2"/>
              <a:buChar char="§"/>
              <a:defRPr>
                <a:solidFill>
                  <a:schemeClr val="bg1"/>
                </a:solidFill>
              </a:defRPr>
            </a:lvl3pPr>
            <a:lvl4pPr marL="1600200" indent="-228600">
              <a:buFont typeface="Wingdings" panose="05000000000000000000" pitchFamily="2" charset="2"/>
              <a:buChar char="§"/>
              <a:defRPr>
                <a:solidFill>
                  <a:schemeClr val="bg1"/>
                </a:solidFill>
              </a:defRPr>
            </a:lvl4pPr>
            <a:lvl5pPr marL="2057400" indent="-228600">
              <a:buFont typeface="Wingdings" panose="05000000000000000000" pitchFamily="2" charset="2"/>
              <a:buChar char="§"/>
              <a:defRPr>
                <a:solidFill>
                  <a:schemeClr val="bg1"/>
                </a:solidFill>
              </a:defRPr>
            </a:lvl5pPr>
          </a:lstStyle>
          <a:p>
            <a:pPr lvl="0"/>
            <a:r>
              <a:rPr lang="en-GB"/>
              <a:t>Add Contents</a:t>
            </a:r>
          </a:p>
        </p:txBody>
      </p:sp>
      <p:sp>
        <p:nvSpPr>
          <p:cNvPr id="15" name="Title 1">
            <a:extLst>
              <a:ext uri="{FF2B5EF4-FFF2-40B4-BE49-F238E27FC236}">
                <a16:creationId xmlns:a16="http://schemas.microsoft.com/office/drawing/2014/main" id="{E8588905-89F9-EB47-69BC-86E6372B018F}"/>
              </a:ext>
            </a:extLst>
          </p:cNvPr>
          <p:cNvSpPr>
            <a:spLocks noGrp="1"/>
          </p:cNvSpPr>
          <p:nvPr>
            <p:ph type="title" hasCustomPrompt="1"/>
          </p:nvPr>
        </p:nvSpPr>
        <p:spPr>
          <a:xfrm>
            <a:off x="427588" y="341060"/>
            <a:ext cx="11334200" cy="979739"/>
          </a:xfrm>
          <a:prstGeom prst="rect">
            <a:avLst/>
          </a:prstGeom>
        </p:spPr>
        <p:txBody>
          <a:bodyPr anchor="ctr">
            <a:normAutofit/>
          </a:bodyPr>
          <a:lstStyle>
            <a:lvl1pPr>
              <a:defRPr sz="3000" b="1">
                <a:solidFill>
                  <a:schemeClr val="tx1"/>
                </a:solidFill>
                <a:latin typeface="Ubuntu" panose="020B0504030602030204" pitchFamily="34" charset="0"/>
              </a:defRPr>
            </a:lvl1pPr>
          </a:lstStyle>
          <a:p>
            <a:r>
              <a:rPr lang="en-US"/>
              <a:t>Click to edit Master title style</a:t>
            </a:r>
            <a:br>
              <a:rPr lang="en-US"/>
            </a:br>
            <a:r>
              <a:rPr lang="en-US"/>
              <a:t>Max 2 lines</a:t>
            </a:r>
            <a:endParaRPr lang="en-GB"/>
          </a:p>
        </p:txBody>
      </p:sp>
      <p:sp>
        <p:nvSpPr>
          <p:cNvPr id="2" name="Rectangle 1">
            <a:extLst>
              <a:ext uri="{FF2B5EF4-FFF2-40B4-BE49-F238E27FC236}">
                <a16:creationId xmlns:a16="http://schemas.microsoft.com/office/drawing/2014/main" id="{29F19E1D-D9D6-211D-8470-A2F9996E73CC}"/>
              </a:ext>
            </a:extLst>
          </p:cNvPr>
          <p:cNvSpPr/>
          <p:nvPr userDrawn="1"/>
        </p:nvSpPr>
        <p:spPr>
          <a:xfrm>
            <a:off x="0" y="6209319"/>
            <a:ext cx="12191999" cy="664722"/>
          </a:xfrm>
          <a:prstGeom prst="rect">
            <a:avLst/>
          </a:prstGeom>
          <a:gradFill>
            <a:gsLst>
              <a:gs pos="0">
                <a:schemeClr val="tx1"/>
              </a:gs>
              <a:gs pos="59000">
                <a:srgbClr val="0A4D87"/>
              </a:gs>
              <a:gs pos="100000">
                <a:schemeClr val="accent3"/>
              </a:gs>
            </a:gsLst>
            <a:lin ang="4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Marcador de número de diapositiva 2">
            <a:extLst>
              <a:ext uri="{FF2B5EF4-FFF2-40B4-BE49-F238E27FC236}">
                <a16:creationId xmlns:a16="http://schemas.microsoft.com/office/drawing/2014/main" id="{AA8BD326-F793-9898-64B2-D1656F8E2542}"/>
              </a:ext>
            </a:extLst>
          </p:cNvPr>
          <p:cNvSpPr>
            <a:spLocks noGrp="1"/>
          </p:cNvSpPr>
          <p:nvPr>
            <p:ph type="sldNum" sz="quarter" idx="10"/>
          </p:nvPr>
        </p:nvSpPr>
        <p:spPr>
          <a:xfrm>
            <a:off x="11216646" y="6353716"/>
            <a:ext cx="545141" cy="365125"/>
          </a:xfrm>
          <a:prstGeom prst="rect">
            <a:avLst/>
          </a:prstGeom>
        </p:spPr>
        <p:txBody>
          <a:bodyPr anchor="ctr"/>
          <a:lstStyle>
            <a:lvl1pPr algn="l">
              <a:defRPr sz="1000" b="0" i="0">
                <a:solidFill>
                  <a:schemeClr val="bg1"/>
                </a:solidFill>
                <a:latin typeface="Ubuntu" panose="020B0504030602030204" pitchFamily="34" charset="0"/>
              </a:defRPr>
            </a:lvl1pPr>
          </a:lstStyle>
          <a:p>
            <a:fld id="{E7EBEDA2-51E6-554C-A63C-E820F6D0080D}" type="slidenum">
              <a:rPr lang="es-ES" smtClean="0"/>
              <a:pPr/>
              <a:t>‹#›</a:t>
            </a:fld>
            <a:endParaRPr lang="es-ES" dirty="0"/>
          </a:p>
        </p:txBody>
      </p:sp>
      <p:sp>
        <p:nvSpPr>
          <p:cNvPr id="18" name="Text Placeholder 2">
            <a:extLst>
              <a:ext uri="{FF2B5EF4-FFF2-40B4-BE49-F238E27FC236}">
                <a16:creationId xmlns:a16="http://schemas.microsoft.com/office/drawing/2014/main" id="{409D0E25-2AC3-C1BA-36FE-0E1DC898D219}"/>
              </a:ext>
            </a:extLst>
          </p:cNvPr>
          <p:cNvSpPr>
            <a:spLocks noGrp="1"/>
          </p:cNvSpPr>
          <p:nvPr>
            <p:ph type="body" idx="14" hasCustomPrompt="1"/>
          </p:nvPr>
        </p:nvSpPr>
        <p:spPr>
          <a:xfrm>
            <a:off x="6698847" y="6353716"/>
            <a:ext cx="4304433" cy="365125"/>
          </a:xfrm>
          <a:prstGeom prst="rect">
            <a:avLst/>
          </a:prstGeom>
        </p:spPr>
        <p:txBody>
          <a:bodyPr anchor="ctr">
            <a:normAutofit/>
          </a:bodyPr>
          <a:lstStyle>
            <a:lvl1pPr marL="0" indent="0" algn="r">
              <a:buNone/>
              <a:defRPr sz="1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ext</a:t>
            </a:r>
          </a:p>
        </p:txBody>
      </p:sp>
      <p:pic>
        <p:nvPicPr>
          <p:cNvPr id="22" name="Picture 21" descr="A black background with white text&#10;&#10;Description automatically generated">
            <a:extLst>
              <a:ext uri="{FF2B5EF4-FFF2-40B4-BE49-F238E27FC236}">
                <a16:creationId xmlns:a16="http://schemas.microsoft.com/office/drawing/2014/main" id="{3432D2DF-928D-F2B0-CE57-ECA494FBDC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7885" y="6258723"/>
            <a:ext cx="1103678" cy="568800"/>
          </a:xfrm>
          <a:prstGeom prst="rect">
            <a:avLst/>
          </a:prstGeom>
        </p:spPr>
      </p:pic>
    </p:spTree>
    <p:extLst>
      <p:ext uri="{BB962C8B-B14F-4D97-AF65-F5344CB8AC3E}">
        <p14:creationId xmlns:p14="http://schemas.microsoft.com/office/powerpoint/2010/main" val="22616162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b-Contents">
    <p:bg>
      <p:bgPr>
        <a:gradFill>
          <a:gsLst>
            <a:gs pos="0">
              <a:schemeClr val="tx2"/>
            </a:gs>
            <a:gs pos="100000">
              <a:schemeClr val="accent3"/>
            </a:gs>
            <a:gs pos="59000">
              <a:srgbClr val="0A4D87"/>
            </a:gs>
          </a:gsLst>
          <a:lin ang="4200000" scaled="0"/>
        </a:gradFill>
        <a:effectLst/>
      </p:bgPr>
    </p:bg>
    <p:spTree>
      <p:nvGrpSpPr>
        <p:cNvPr id="1" name=""/>
        <p:cNvGrpSpPr/>
        <p:nvPr/>
      </p:nvGrpSpPr>
      <p:grpSpPr>
        <a:xfrm>
          <a:off x="0" y="0"/>
          <a:ext cx="0" cy="0"/>
          <a:chOff x="0" y="0"/>
          <a:chExt cx="0" cy="0"/>
        </a:xfrm>
      </p:grpSpPr>
      <p:pic>
        <p:nvPicPr>
          <p:cNvPr id="8" name="Picture 7" descr="A person standing in front of a whiteboard&#10;&#10;Description automatically generated">
            <a:extLst>
              <a:ext uri="{FF2B5EF4-FFF2-40B4-BE49-F238E27FC236}">
                <a16:creationId xmlns:a16="http://schemas.microsoft.com/office/drawing/2014/main" id="{9CC9DCA6-4D33-6313-18D0-20079DFA22EB}"/>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3933" b="11066"/>
          <a:stretch/>
        </p:blipFill>
        <p:spPr>
          <a:xfrm>
            <a:off x="0" y="0"/>
            <a:ext cx="12192000" cy="6858000"/>
          </a:xfrm>
          <a:prstGeom prst="rect">
            <a:avLst/>
          </a:prstGeom>
        </p:spPr>
      </p:pic>
      <p:cxnSp>
        <p:nvCxnSpPr>
          <p:cNvPr id="4" name="Straight Connector 3">
            <a:extLst>
              <a:ext uri="{FF2B5EF4-FFF2-40B4-BE49-F238E27FC236}">
                <a16:creationId xmlns:a16="http://schemas.microsoft.com/office/drawing/2014/main" id="{5D1931EF-FFF3-BAA9-F6FF-987A51E9C796}"/>
              </a:ext>
            </a:extLst>
          </p:cNvPr>
          <p:cNvCxnSpPr/>
          <p:nvPr userDrawn="1"/>
        </p:nvCxnSpPr>
        <p:spPr>
          <a:xfrm>
            <a:off x="5540543" y="1024694"/>
            <a:ext cx="0" cy="45539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5">
            <a:extLst>
              <a:ext uri="{FF2B5EF4-FFF2-40B4-BE49-F238E27FC236}">
                <a16:creationId xmlns:a16="http://schemas.microsoft.com/office/drawing/2014/main" id="{25A94BFA-7A06-2832-464D-320EE37F5D52}"/>
              </a:ext>
            </a:extLst>
          </p:cNvPr>
          <p:cNvSpPr>
            <a:spLocks noGrp="1"/>
          </p:cNvSpPr>
          <p:nvPr>
            <p:ph type="body" sz="quarter" idx="10"/>
          </p:nvPr>
        </p:nvSpPr>
        <p:spPr>
          <a:xfrm>
            <a:off x="1281446" y="2485273"/>
            <a:ext cx="3874751" cy="1449387"/>
          </a:xfrm>
          <a:prstGeom prst="rect">
            <a:avLst/>
          </a:prstGeom>
        </p:spPr>
        <p:txBody>
          <a:bodyPr anchor="ctr">
            <a:normAutofit/>
          </a:bodyPr>
          <a:lstStyle>
            <a:lvl1pPr marL="0" indent="0" algn="l">
              <a:buNone/>
              <a:defRPr sz="3000" b="1">
                <a:solidFill>
                  <a:schemeClr val="bg1"/>
                </a:solidFill>
                <a:latin typeface="Ubuntu" panose="020B0504030602030204" pitchFamily="34" charset="0"/>
              </a:defRPr>
            </a:lvl1pPr>
          </a:lstStyle>
          <a:p>
            <a:pPr lvl="0"/>
            <a:r>
              <a:rPr lang="en-US" dirty="0"/>
              <a:t>Click to edit Master text styles</a:t>
            </a:r>
          </a:p>
        </p:txBody>
      </p:sp>
      <p:sp>
        <p:nvSpPr>
          <p:cNvPr id="6" name="Text Placeholder 7">
            <a:extLst>
              <a:ext uri="{FF2B5EF4-FFF2-40B4-BE49-F238E27FC236}">
                <a16:creationId xmlns:a16="http://schemas.microsoft.com/office/drawing/2014/main" id="{ABF508FE-E1B9-E141-C612-AEFC728CF4AF}"/>
              </a:ext>
            </a:extLst>
          </p:cNvPr>
          <p:cNvSpPr>
            <a:spLocks noGrp="1"/>
          </p:cNvSpPr>
          <p:nvPr>
            <p:ph type="body" sz="quarter" idx="11" hasCustomPrompt="1"/>
          </p:nvPr>
        </p:nvSpPr>
        <p:spPr>
          <a:xfrm>
            <a:off x="5924884" y="1196645"/>
            <a:ext cx="5257800" cy="4210050"/>
          </a:xfrm>
          <a:prstGeom prst="rect">
            <a:avLst/>
          </a:prstGeom>
        </p:spPr>
        <p:txBody>
          <a:bodyPr anchor="ctr">
            <a:normAutofit/>
          </a:bodyPr>
          <a:lstStyle>
            <a:lvl1pPr marL="228600" indent="-228600">
              <a:buFont typeface="Wingdings" panose="05000000000000000000" pitchFamily="2" charset="2"/>
              <a:buChar char="§"/>
              <a:defRPr sz="1800">
                <a:solidFill>
                  <a:schemeClr val="bg1"/>
                </a:solidFill>
                <a:latin typeface="Ubuntu" panose="020B0504030602030204" pitchFamily="34" charset="0"/>
              </a:defRPr>
            </a:lvl1pPr>
          </a:lstStyle>
          <a:p>
            <a:pPr lvl="0"/>
            <a:r>
              <a:rPr lang="en-US"/>
              <a:t>Click to edit Sub-Content</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lang="en-US"/>
              <a:t>Click to edit Sub-Content</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lang="en-US"/>
              <a:t>Click to edit Sub-Content</a:t>
            </a:r>
          </a:p>
          <a:p>
            <a:pPr lvl="0"/>
            <a:endParaRPr lang="en-US"/>
          </a:p>
        </p:txBody>
      </p:sp>
      <p:pic>
        <p:nvPicPr>
          <p:cNvPr id="2" name="Picture 1" descr="A black background with white text&#10;&#10;Description automatically generated">
            <a:extLst>
              <a:ext uri="{FF2B5EF4-FFF2-40B4-BE49-F238E27FC236}">
                <a16:creationId xmlns:a16="http://schemas.microsoft.com/office/drawing/2014/main" id="{0859196F-7014-F73D-18AC-20AA4600F89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885" y="6214115"/>
            <a:ext cx="1259507" cy="649109"/>
          </a:xfrm>
          <a:prstGeom prst="rect">
            <a:avLst/>
          </a:prstGeom>
        </p:spPr>
      </p:pic>
    </p:spTree>
    <p:extLst>
      <p:ext uri="{BB962C8B-B14F-4D97-AF65-F5344CB8AC3E}">
        <p14:creationId xmlns:p14="http://schemas.microsoft.com/office/powerpoint/2010/main" val="16952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Holder 2">
            <a:extLst>
              <a:ext uri="{FF2B5EF4-FFF2-40B4-BE49-F238E27FC236}">
                <a16:creationId xmlns:a16="http://schemas.microsoft.com/office/drawing/2014/main" id="{57EF3E0F-3790-BB4A-883C-9C79057A7979}"/>
              </a:ext>
            </a:extLst>
          </p:cNvPr>
          <p:cNvSpPr>
            <a:spLocks noGrp="1"/>
          </p:cNvSpPr>
          <p:nvPr>
            <p:ph type="title"/>
          </p:nvPr>
        </p:nvSpPr>
        <p:spPr>
          <a:xfrm>
            <a:off x="762001" y="1524001"/>
            <a:ext cx="6781800" cy="553998"/>
          </a:xfrm>
        </p:spPr>
        <p:txBody>
          <a:bodyPr lIns="0" tIns="0" rIns="0" bIns="0"/>
          <a:lstStyle>
            <a:lvl1pPr>
              <a:defRPr sz="3600" b="1" i="0">
                <a:solidFill>
                  <a:schemeClr val="bg1"/>
                </a:solidFill>
                <a:latin typeface="Ubuntu"/>
                <a:cs typeface="Ubuntu"/>
              </a:defRPr>
            </a:lvl1pPr>
          </a:lstStyle>
          <a:p>
            <a:r>
              <a:rPr lang="en-US"/>
              <a:t>Click to edit Master title style</a:t>
            </a:r>
            <a:endParaRPr/>
          </a:p>
        </p:txBody>
      </p:sp>
      <p:sp>
        <p:nvSpPr>
          <p:cNvPr id="7" name="Holder 3">
            <a:extLst>
              <a:ext uri="{FF2B5EF4-FFF2-40B4-BE49-F238E27FC236}">
                <a16:creationId xmlns:a16="http://schemas.microsoft.com/office/drawing/2014/main" id="{A66B5565-E261-1941-894B-F37819E90B0D}"/>
              </a:ext>
            </a:extLst>
          </p:cNvPr>
          <p:cNvSpPr>
            <a:spLocks noGrp="1"/>
          </p:cNvSpPr>
          <p:nvPr>
            <p:ph type="body" idx="1"/>
          </p:nvPr>
        </p:nvSpPr>
        <p:spPr>
          <a:xfrm>
            <a:off x="762002" y="2298625"/>
            <a:ext cx="6781800"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8" name="Text Placeholder 13">
            <a:extLst>
              <a:ext uri="{FF2B5EF4-FFF2-40B4-BE49-F238E27FC236}">
                <a16:creationId xmlns:a16="http://schemas.microsoft.com/office/drawing/2014/main" id="{65F8B5BA-66D6-3B43-8D56-7912589C8F76}"/>
              </a:ext>
            </a:extLst>
          </p:cNvPr>
          <p:cNvSpPr>
            <a:spLocks noGrp="1"/>
          </p:cNvSpPr>
          <p:nvPr>
            <p:ph type="body" sz="quarter" idx="11"/>
          </p:nvPr>
        </p:nvSpPr>
        <p:spPr>
          <a:xfrm>
            <a:off x="762002" y="3048000"/>
            <a:ext cx="6781800" cy="1384995"/>
          </a:xfrm>
        </p:spPr>
        <p:txBody>
          <a:bodyPr/>
          <a:lstStyle>
            <a:lvl1pPr>
              <a:lnSpc>
                <a:spcPct val="100000"/>
              </a:lnSpc>
              <a:defRPr sz="1800" b="0">
                <a:solidFill>
                  <a:schemeClr val="bg2">
                    <a:lumMod val="50000"/>
                  </a:schemeClr>
                </a:solidFill>
              </a:defRPr>
            </a:lvl1pPr>
            <a:lvl2pPr>
              <a:lnSpc>
                <a:spcPct val="100000"/>
              </a:lnSpc>
              <a:defRPr sz="1800" b="0">
                <a:solidFill>
                  <a:schemeClr val="bg2">
                    <a:lumMod val="50000"/>
                  </a:schemeClr>
                </a:solidFill>
              </a:defRPr>
            </a:lvl2pPr>
            <a:lvl3pPr>
              <a:lnSpc>
                <a:spcPct val="100000"/>
              </a:lnSpc>
              <a:defRPr sz="1800" b="0">
                <a:solidFill>
                  <a:schemeClr val="bg2">
                    <a:lumMod val="50000"/>
                  </a:schemeClr>
                </a:solidFill>
              </a:defRPr>
            </a:lvl3pPr>
            <a:lvl4pPr>
              <a:lnSpc>
                <a:spcPct val="100000"/>
              </a:lnSpc>
              <a:defRPr sz="1800" b="0">
                <a:solidFill>
                  <a:schemeClr val="bg2">
                    <a:lumMod val="50000"/>
                  </a:schemeClr>
                </a:solidFill>
              </a:defRPr>
            </a:lvl4pPr>
            <a:lvl5pPr>
              <a:lnSpc>
                <a:spcPct val="100000"/>
              </a:lnSpc>
              <a:defRPr sz="18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Media Placeholder 15">
            <a:extLst>
              <a:ext uri="{FF2B5EF4-FFF2-40B4-BE49-F238E27FC236}">
                <a16:creationId xmlns:a16="http://schemas.microsoft.com/office/drawing/2014/main" id="{60BACFA9-E091-C445-AFB4-806A097E6425}"/>
              </a:ext>
            </a:extLst>
          </p:cNvPr>
          <p:cNvSpPr>
            <a:spLocks noGrp="1"/>
          </p:cNvSpPr>
          <p:nvPr>
            <p:ph type="media" sz="quarter" idx="12"/>
          </p:nvPr>
        </p:nvSpPr>
        <p:spPr>
          <a:xfrm>
            <a:off x="8102982" y="620688"/>
            <a:ext cx="4089018" cy="276999"/>
          </a:xfrm>
        </p:spPr>
        <p:txBody>
          <a:bodyPr/>
          <a:lstStyle/>
          <a:p>
            <a:r>
              <a:rPr lang="en-US"/>
              <a:t>Click icon to add media</a:t>
            </a:r>
          </a:p>
        </p:txBody>
      </p:sp>
    </p:spTree>
    <p:extLst>
      <p:ext uri="{BB962C8B-B14F-4D97-AF65-F5344CB8AC3E}">
        <p14:creationId xmlns:p14="http://schemas.microsoft.com/office/powerpoint/2010/main" val="3753460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Holder 2">
            <a:extLst>
              <a:ext uri="{FF2B5EF4-FFF2-40B4-BE49-F238E27FC236}">
                <a16:creationId xmlns:a16="http://schemas.microsoft.com/office/drawing/2014/main" id="{9985A9F1-11BF-CB41-8674-5E6A62276418}"/>
              </a:ext>
            </a:extLst>
          </p:cNvPr>
          <p:cNvSpPr>
            <a:spLocks noGrp="1"/>
          </p:cNvSpPr>
          <p:nvPr>
            <p:ph type="title"/>
          </p:nvPr>
        </p:nvSpPr>
        <p:spPr>
          <a:xfrm>
            <a:off x="762001" y="1524001"/>
            <a:ext cx="6781800" cy="553998"/>
          </a:xfrm>
        </p:spPr>
        <p:txBody>
          <a:bodyPr lIns="0" tIns="0" rIns="0" bIns="0"/>
          <a:lstStyle>
            <a:lvl1pPr>
              <a:defRPr sz="3600" b="1" i="0">
                <a:solidFill>
                  <a:schemeClr val="bg1"/>
                </a:solidFill>
                <a:latin typeface="Ubuntu"/>
                <a:cs typeface="Ubuntu"/>
              </a:defRPr>
            </a:lvl1pPr>
          </a:lstStyle>
          <a:p>
            <a:r>
              <a:rPr lang="en-US"/>
              <a:t>Click to edit Master title style</a:t>
            </a:r>
            <a:endParaRPr/>
          </a:p>
        </p:txBody>
      </p:sp>
      <p:sp>
        <p:nvSpPr>
          <p:cNvPr id="6" name="Holder 3">
            <a:extLst>
              <a:ext uri="{FF2B5EF4-FFF2-40B4-BE49-F238E27FC236}">
                <a16:creationId xmlns:a16="http://schemas.microsoft.com/office/drawing/2014/main" id="{5DC5557C-6F6E-FA47-A64A-03824081C48B}"/>
              </a:ext>
            </a:extLst>
          </p:cNvPr>
          <p:cNvSpPr>
            <a:spLocks noGrp="1"/>
          </p:cNvSpPr>
          <p:nvPr>
            <p:ph type="body" idx="1"/>
          </p:nvPr>
        </p:nvSpPr>
        <p:spPr>
          <a:xfrm>
            <a:off x="762002"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7" name="Text Placeholder 13">
            <a:extLst>
              <a:ext uri="{FF2B5EF4-FFF2-40B4-BE49-F238E27FC236}">
                <a16:creationId xmlns:a16="http://schemas.microsoft.com/office/drawing/2014/main" id="{E185A7C2-F491-394A-A583-8E4AAB88ED63}"/>
              </a:ext>
            </a:extLst>
          </p:cNvPr>
          <p:cNvSpPr>
            <a:spLocks noGrp="1"/>
          </p:cNvSpPr>
          <p:nvPr>
            <p:ph type="body" sz="quarter" idx="11"/>
          </p:nvPr>
        </p:nvSpPr>
        <p:spPr>
          <a:xfrm>
            <a:off x="762002"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3">
            <a:extLst>
              <a:ext uri="{FF2B5EF4-FFF2-40B4-BE49-F238E27FC236}">
                <a16:creationId xmlns:a16="http://schemas.microsoft.com/office/drawing/2014/main" id="{871ADFB5-3FD3-8D47-B575-6E4430111D4D}"/>
              </a:ext>
            </a:extLst>
          </p:cNvPr>
          <p:cNvSpPr>
            <a:spLocks noGrp="1"/>
          </p:cNvSpPr>
          <p:nvPr>
            <p:ph type="body" idx="12"/>
          </p:nvPr>
        </p:nvSpPr>
        <p:spPr>
          <a:xfrm>
            <a:off x="3512078"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9" name="Text Placeholder 13">
            <a:extLst>
              <a:ext uri="{FF2B5EF4-FFF2-40B4-BE49-F238E27FC236}">
                <a16:creationId xmlns:a16="http://schemas.microsoft.com/office/drawing/2014/main" id="{F1D46602-3500-C84D-86E9-A03D8A1BC633}"/>
              </a:ext>
            </a:extLst>
          </p:cNvPr>
          <p:cNvSpPr>
            <a:spLocks noGrp="1"/>
          </p:cNvSpPr>
          <p:nvPr>
            <p:ph type="body" sz="quarter" idx="13"/>
          </p:nvPr>
        </p:nvSpPr>
        <p:spPr>
          <a:xfrm>
            <a:off x="3512078"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3">
            <a:extLst>
              <a:ext uri="{FF2B5EF4-FFF2-40B4-BE49-F238E27FC236}">
                <a16:creationId xmlns:a16="http://schemas.microsoft.com/office/drawing/2014/main" id="{609E081C-5B40-8E42-A60C-A449ED125732}"/>
              </a:ext>
            </a:extLst>
          </p:cNvPr>
          <p:cNvSpPr>
            <a:spLocks noGrp="1"/>
          </p:cNvSpPr>
          <p:nvPr>
            <p:ph type="body" idx="14"/>
          </p:nvPr>
        </p:nvSpPr>
        <p:spPr>
          <a:xfrm>
            <a:off x="6262152"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68E38DC5-84B9-2D42-A8EE-7E1A6CA60E50}"/>
              </a:ext>
            </a:extLst>
          </p:cNvPr>
          <p:cNvSpPr>
            <a:spLocks noGrp="1"/>
          </p:cNvSpPr>
          <p:nvPr>
            <p:ph type="body" sz="quarter" idx="15"/>
          </p:nvPr>
        </p:nvSpPr>
        <p:spPr>
          <a:xfrm>
            <a:off x="6262152"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3">
            <a:extLst>
              <a:ext uri="{FF2B5EF4-FFF2-40B4-BE49-F238E27FC236}">
                <a16:creationId xmlns:a16="http://schemas.microsoft.com/office/drawing/2014/main" id="{898DEF9C-35F5-AC43-85D8-042BB6291E6D}"/>
              </a:ext>
            </a:extLst>
          </p:cNvPr>
          <p:cNvSpPr>
            <a:spLocks noGrp="1"/>
          </p:cNvSpPr>
          <p:nvPr>
            <p:ph type="body" idx="16"/>
          </p:nvPr>
        </p:nvSpPr>
        <p:spPr>
          <a:xfrm>
            <a:off x="9012228"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3" name="Text Placeholder 13">
            <a:extLst>
              <a:ext uri="{FF2B5EF4-FFF2-40B4-BE49-F238E27FC236}">
                <a16:creationId xmlns:a16="http://schemas.microsoft.com/office/drawing/2014/main" id="{5BA3932E-1AC6-B44B-A77C-82301B14BAB6}"/>
              </a:ext>
            </a:extLst>
          </p:cNvPr>
          <p:cNvSpPr>
            <a:spLocks noGrp="1"/>
          </p:cNvSpPr>
          <p:nvPr>
            <p:ph type="body" sz="quarter" idx="17"/>
          </p:nvPr>
        </p:nvSpPr>
        <p:spPr>
          <a:xfrm>
            <a:off x="9012228"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59F14050-274F-D04C-A1C0-DBE3F9A37FF8}"/>
              </a:ext>
            </a:extLst>
          </p:cNvPr>
          <p:cNvSpPr>
            <a:spLocks noGrp="1"/>
          </p:cNvSpPr>
          <p:nvPr>
            <p:ph type="media" sz="quarter" idx="18"/>
          </p:nvPr>
        </p:nvSpPr>
        <p:spPr>
          <a:xfrm>
            <a:off x="762000" y="2284506"/>
            <a:ext cx="2438400" cy="553998"/>
          </a:xfrm>
        </p:spPr>
        <p:txBody>
          <a:bodyPr/>
          <a:lstStyle/>
          <a:p>
            <a:r>
              <a:rPr lang="en-US"/>
              <a:t>Click icon to add media</a:t>
            </a:r>
          </a:p>
        </p:txBody>
      </p:sp>
      <p:sp>
        <p:nvSpPr>
          <p:cNvPr id="18" name="Media Placeholder 16">
            <a:extLst>
              <a:ext uri="{FF2B5EF4-FFF2-40B4-BE49-F238E27FC236}">
                <a16:creationId xmlns:a16="http://schemas.microsoft.com/office/drawing/2014/main" id="{2BF8A68F-1AA7-1145-BECA-C7B9FE579DDE}"/>
              </a:ext>
            </a:extLst>
          </p:cNvPr>
          <p:cNvSpPr>
            <a:spLocks noGrp="1"/>
          </p:cNvSpPr>
          <p:nvPr>
            <p:ph type="media" sz="quarter" idx="19"/>
          </p:nvPr>
        </p:nvSpPr>
        <p:spPr>
          <a:xfrm>
            <a:off x="3512075" y="2284506"/>
            <a:ext cx="2438400" cy="553998"/>
          </a:xfrm>
        </p:spPr>
        <p:txBody>
          <a:bodyPr/>
          <a:lstStyle/>
          <a:p>
            <a:r>
              <a:rPr lang="en-US"/>
              <a:t>Click icon to add media</a:t>
            </a:r>
          </a:p>
        </p:txBody>
      </p:sp>
      <p:sp>
        <p:nvSpPr>
          <p:cNvPr id="19" name="Media Placeholder 16">
            <a:extLst>
              <a:ext uri="{FF2B5EF4-FFF2-40B4-BE49-F238E27FC236}">
                <a16:creationId xmlns:a16="http://schemas.microsoft.com/office/drawing/2014/main" id="{F4CE6B17-2D00-414A-B3E2-70EC851E55E2}"/>
              </a:ext>
            </a:extLst>
          </p:cNvPr>
          <p:cNvSpPr>
            <a:spLocks noGrp="1"/>
          </p:cNvSpPr>
          <p:nvPr>
            <p:ph type="media" sz="quarter" idx="20"/>
          </p:nvPr>
        </p:nvSpPr>
        <p:spPr>
          <a:xfrm>
            <a:off x="6262152" y="2284506"/>
            <a:ext cx="2438400" cy="553998"/>
          </a:xfrm>
        </p:spPr>
        <p:txBody>
          <a:bodyPr/>
          <a:lstStyle/>
          <a:p>
            <a:r>
              <a:rPr lang="en-US"/>
              <a:t>Click icon to add media</a:t>
            </a:r>
          </a:p>
        </p:txBody>
      </p:sp>
      <p:sp>
        <p:nvSpPr>
          <p:cNvPr id="20" name="Media Placeholder 16">
            <a:extLst>
              <a:ext uri="{FF2B5EF4-FFF2-40B4-BE49-F238E27FC236}">
                <a16:creationId xmlns:a16="http://schemas.microsoft.com/office/drawing/2014/main" id="{DBB1C7C8-4730-6748-9A97-B25E61E4176B}"/>
              </a:ext>
            </a:extLst>
          </p:cNvPr>
          <p:cNvSpPr>
            <a:spLocks noGrp="1"/>
          </p:cNvSpPr>
          <p:nvPr>
            <p:ph type="media" sz="quarter" idx="21"/>
          </p:nvPr>
        </p:nvSpPr>
        <p:spPr>
          <a:xfrm>
            <a:off x="9012228" y="2284506"/>
            <a:ext cx="2438400" cy="553998"/>
          </a:xfrm>
        </p:spPr>
        <p:txBody>
          <a:bodyPr/>
          <a:lstStyle/>
          <a:p>
            <a:r>
              <a:rPr lang="en-US"/>
              <a:t>Click icon to add media</a:t>
            </a:r>
          </a:p>
        </p:txBody>
      </p:sp>
    </p:spTree>
    <p:extLst>
      <p:ext uri="{BB962C8B-B14F-4D97-AF65-F5344CB8AC3E}">
        <p14:creationId xmlns:p14="http://schemas.microsoft.com/office/powerpoint/2010/main" val="2757667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86A6FFD-B48D-7844-A479-BFE949A2866F}"/>
              </a:ext>
            </a:extLst>
          </p:cNvPr>
          <p:cNvSpPr/>
          <p:nvPr userDrawn="1"/>
        </p:nvSpPr>
        <p:spPr>
          <a:xfrm>
            <a:off x="8544273" y="332656"/>
            <a:ext cx="2692033" cy="12961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396258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5" name="Holder 2">
            <a:extLst>
              <a:ext uri="{FF2B5EF4-FFF2-40B4-BE49-F238E27FC236}">
                <a16:creationId xmlns:a16="http://schemas.microsoft.com/office/drawing/2014/main" id="{9985A9F1-11BF-CB41-8674-5E6A62276418}"/>
              </a:ext>
            </a:extLst>
          </p:cNvPr>
          <p:cNvSpPr>
            <a:spLocks noGrp="1"/>
          </p:cNvSpPr>
          <p:nvPr>
            <p:ph type="title" hasCustomPrompt="1"/>
          </p:nvPr>
        </p:nvSpPr>
        <p:spPr>
          <a:xfrm>
            <a:off x="762001" y="1524000"/>
            <a:ext cx="7938549" cy="553998"/>
          </a:xfrm>
        </p:spPr>
        <p:txBody>
          <a:bodyPr lIns="0" tIns="0" rIns="0" bIns="0"/>
          <a:lstStyle>
            <a:lvl1pPr>
              <a:defRPr sz="3600" b="1" i="0">
                <a:solidFill>
                  <a:schemeClr val="bg1"/>
                </a:solidFill>
                <a:latin typeface="Ubuntu"/>
                <a:cs typeface="Ubuntu"/>
              </a:defRPr>
            </a:lvl1pPr>
          </a:lstStyle>
          <a:p>
            <a:r>
              <a:rPr lang="en-US"/>
              <a:t>Selection of </a:t>
            </a:r>
            <a:r>
              <a:rPr lang="en-US" err="1"/>
              <a:t>Adatis</a:t>
            </a:r>
            <a:r>
              <a:rPr lang="en-US"/>
              <a:t> Clients</a:t>
            </a:r>
            <a:endParaRPr/>
          </a:p>
        </p:txBody>
      </p:sp>
    </p:spTree>
    <p:extLst>
      <p:ext uri="{BB962C8B-B14F-4D97-AF65-F5344CB8AC3E}">
        <p14:creationId xmlns:p14="http://schemas.microsoft.com/office/powerpoint/2010/main" val="3495478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6645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6" name="Holder 3">
            <a:extLst>
              <a:ext uri="{FF2B5EF4-FFF2-40B4-BE49-F238E27FC236}">
                <a16:creationId xmlns:a16="http://schemas.microsoft.com/office/drawing/2014/main" id="{5DC5557C-6F6E-FA47-A64A-03824081C48B}"/>
              </a:ext>
            </a:extLst>
          </p:cNvPr>
          <p:cNvSpPr>
            <a:spLocks noGrp="1"/>
          </p:cNvSpPr>
          <p:nvPr>
            <p:ph type="body" idx="1"/>
          </p:nvPr>
        </p:nvSpPr>
        <p:spPr>
          <a:xfrm>
            <a:off x="762002"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7" name="Text Placeholder 13">
            <a:extLst>
              <a:ext uri="{FF2B5EF4-FFF2-40B4-BE49-F238E27FC236}">
                <a16:creationId xmlns:a16="http://schemas.microsoft.com/office/drawing/2014/main" id="{E185A7C2-F491-394A-A583-8E4AAB88ED63}"/>
              </a:ext>
            </a:extLst>
          </p:cNvPr>
          <p:cNvSpPr>
            <a:spLocks noGrp="1"/>
          </p:cNvSpPr>
          <p:nvPr>
            <p:ph type="body" sz="quarter" idx="11"/>
          </p:nvPr>
        </p:nvSpPr>
        <p:spPr>
          <a:xfrm>
            <a:off x="762002"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3">
            <a:extLst>
              <a:ext uri="{FF2B5EF4-FFF2-40B4-BE49-F238E27FC236}">
                <a16:creationId xmlns:a16="http://schemas.microsoft.com/office/drawing/2014/main" id="{871ADFB5-3FD3-8D47-B575-6E4430111D4D}"/>
              </a:ext>
            </a:extLst>
          </p:cNvPr>
          <p:cNvSpPr>
            <a:spLocks noGrp="1"/>
          </p:cNvSpPr>
          <p:nvPr>
            <p:ph type="body" idx="12"/>
          </p:nvPr>
        </p:nvSpPr>
        <p:spPr>
          <a:xfrm>
            <a:off x="3512078"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9" name="Text Placeholder 13">
            <a:extLst>
              <a:ext uri="{FF2B5EF4-FFF2-40B4-BE49-F238E27FC236}">
                <a16:creationId xmlns:a16="http://schemas.microsoft.com/office/drawing/2014/main" id="{F1D46602-3500-C84D-86E9-A03D8A1BC633}"/>
              </a:ext>
            </a:extLst>
          </p:cNvPr>
          <p:cNvSpPr>
            <a:spLocks noGrp="1"/>
          </p:cNvSpPr>
          <p:nvPr>
            <p:ph type="body" sz="quarter" idx="13"/>
          </p:nvPr>
        </p:nvSpPr>
        <p:spPr>
          <a:xfrm>
            <a:off x="3512078"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3">
            <a:extLst>
              <a:ext uri="{FF2B5EF4-FFF2-40B4-BE49-F238E27FC236}">
                <a16:creationId xmlns:a16="http://schemas.microsoft.com/office/drawing/2014/main" id="{609E081C-5B40-8E42-A60C-A449ED125732}"/>
              </a:ext>
            </a:extLst>
          </p:cNvPr>
          <p:cNvSpPr>
            <a:spLocks noGrp="1"/>
          </p:cNvSpPr>
          <p:nvPr>
            <p:ph type="body" idx="14"/>
          </p:nvPr>
        </p:nvSpPr>
        <p:spPr>
          <a:xfrm>
            <a:off x="6262152"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68E38DC5-84B9-2D42-A8EE-7E1A6CA60E50}"/>
              </a:ext>
            </a:extLst>
          </p:cNvPr>
          <p:cNvSpPr>
            <a:spLocks noGrp="1"/>
          </p:cNvSpPr>
          <p:nvPr>
            <p:ph type="body" sz="quarter" idx="15"/>
          </p:nvPr>
        </p:nvSpPr>
        <p:spPr>
          <a:xfrm>
            <a:off x="6262152"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3">
            <a:extLst>
              <a:ext uri="{FF2B5EF4-FFF2-40B4-BE49-F238E27FC236}">
                <a16:creationId xmlns:a16="http://schemas.microsoft.com/office/drawing/2014/main" id="{898DEF9C-35F5-AC43-85D8-042BB6291E6D}"/>
              </a:ext>
            </a:extLst>
          </p:cNvPr>
          <p:cNvSpPr>
            <a:spLocks noGrp="1"/>
          </p:cNvSpPr>
          <p:nvPr>
            <p:ph type="body" idx="16"/>
          </p:nvPr>
        </p:nvSpPr>
        <p:spPr>
          <a:xfrm>
            <a:off x="9012228"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3" name="Text Placeholder 13">
            <a:extLst>
              <a:ext uri="{FF2B5EF4-FFF2-40B4-BE49-F238E27FC236}">
                <a16:creationId xmlns:a16="http://schemas.microsoft.com/office/drawing/2014/main" id="{5BA3932E-1AC6-B44B-A77C-82301B14BAB6}"/>
              </a:ext>
            </a:extLst>
          </p:cNvPr>
          <p:cNvSpPr>
            <a:spLocks noGrp="1"/>
          </p:cNvSpPr>
          <p:nvPr>
            <p:ph type="body" sz="quarter" idx="17"/>
          </p:nvPr>
        </p:nvSpPr>
        <p:spPr>
          <a:xfrm>
            <a:off x="9012228"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59F14050-274F-D04C-A1C0-DBE3F9A37FF8}"/>
              </a:ext>
            </a:extLst>
          </p:cNvPr>
          <p:cNvSpPr>
            <a:spLocks noGrp="1"/>
          </p:cNvSpPr>
          <p:nvPr>
            <p:ph type="media" sz="quarter" idx="18"/>
          </p:nvPr>
        </p:nvSpPr>
        <p:spPr>
          <a:xfrm>
            <a:off x="762000" y="590588"/>
            <a:ext cx="10688626" cy="276999"/>
          </a:xfrm>
        </p:spPr>
        <p:txBody>
          <a:bodyPr/>
          <a:lstStyle/>
          <a:p>
            <a:r>
              <a:rPr lang="en-US"/>
              <a:t>Click icon to add media</a:t>
            </a:r>
          </a:p>
        </p:txBody>
      </p:sp>
    </p:spTree>
    <p:extLst>
      <p:ext uri="{BB962C8B-B14F-4D97-AF65-F5344CB8AC3E}">
        <p14:creationId xmlns:p14="http://schemas.microsoft.com/office/powerpoint/2010/main" val="4539809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Holder 2">
            <a:extLst>
              <a:ext uri="{FF2B5EF4-FFF2-40B4-BE49-F238E27FC236}">
                <a16:creationId xmlns:a16="http://schemas.microsoft.com/office/drawing/2014/main" id="{9985A9F1-11BF-CB41-8674-5E6A62276418}"/>
              </a:ext>
            </a:extLst>
          </p:cNvPr>
          <p:cNvSpPr>
            <a:spLocks noGrp="1"/>
          </p:cNvSpPr>
          <p:nvPr>
            <p:ph type="title"/>
          </p:nvPr>
        </p:nvSpPr>
        <p:spPr>
          <a:xfrm>
            <a:off x="762001" y="1524001"/>
            <a:ext cx="6781800" cy="553998"/>
          </a:xfrm>
        </p:spPr>
        <p:txBody>
          <a:bodyPr lIns="0" tIns="0" rIns="0" bIns="0"/>
          <a:lstStyle>
            <a:lvl1pPr>
              <a:defRPr sz="3600" b="1" i="0">
                <a:solidFill>
                  <a:schemeClr val="bg1"/>
                </a:solidFill>
                <a:latin typeface="Ubuntu"/>
                <a:cs typeface="Ubuntu"/>
              </a:defRPr>
            </a:lvl1pPr>
          </a:lstStyle>
          <a:p>
            <a:r>
              <a:rPr lang="en-US"/>
              <a:t>Click to edit Master title style</a:t>
            </a:r>
            <a:endParaRPr/>
          </a:p>
        </p:txBody>
      </p:sp>
      <p:sp>
        <p:nvSpPr>
          <p:cNvPr id="6" name="Holder 3">
            <a:extLst>
              <a:ext uri="{FF2B5EF4-FFF2-40B4-BE49-F238E27FC236}">
                <a16:creationId xmlns:a16="http://schemas.microsoft.com/office/drawing/2014/main" id="{5DC5557C-6F6E-FA47-A64A-03824081C48B}"/>
              </a:ext>
            </a:extLst>
          </p:cNvPr>
          <p:cNvSpPr>
            <a:spLocks noGrp="1"/>
          </p:cNvSpPr>
          <p:nvPr>
            <p:ph type="body" idx="1"/>
          </p:nvPr>
        </p:nvSpPr>
        <p:spPr>
          <a:xfrm>
            <a:off x="762002" y="3733800"/>
            <a:ext cx="5188472"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7" name="Text Placeholder 13">
            <a:extLst>
              <a:ext uri="{FF2B5EF4-FFF2-40B4-BE49-F238E27FC236}">
                <a16:creationId xmlns:a16="http://schemas.microsoft.com/office/drawing/2014/main" id="{E185A7C2-F491-394A-A583-8E4AAB88ED63}"/>
              </a:ext>
            </a:extLst>
          </p:cNvPr>
          <p:cNvSpPr>
            <a:spLocks noGrp="1"/>
          </p:cNvSpPr>
          <p:nvPr>
            <p:ph type="body" sz="quarter" idx="11"/>
          </p:nvPr>
        </p:nvSpPr>
        <p:spPr>
          <a:xfrm>
            <a:off x="762002" y="4114800"/>
            <a:ext cx="5188471"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3">
            <a:extLst>
              <a:ext uri="{FF2B5EF4-FFF2-40B4-BE49-F238E27FC236}">
                <a16:creationId xmlns:a16="http://schemas.microsoft.com/office/drawing/2014/main" id="{609E081C-5B40-8E42-A60C-A449ED125732}"/>
              </a:ext>
            </a:extLst>
          </p:cNvPr>
          <p:cNvSpPr>
            <a:spLocks noGrp="1"/>
          </p:cNvSpPr>
          <p:nvPr>
            <p:ph type="body" idx="14"/>
          </p:nvPr>
        </p:nvSpPr>
        <p:spPr>
          <a:xfrm>
            <a:off x="6262152"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68E38DC5-84B9-2D42-A8EE-7E1A6CA60E50}"/>
              </a:ext>
            </a:extLst>
          </p:cNvPr>
          <p:cNvSpPr>
            <a:spLocks noGrp="1"/>
          </p:cNvSpPr>
          <p:nvPr>
            <p:ph type="body" sz="quarter" idx="15"/>
          </p:nvPr>
        </p:nvSpPr>
        <p:spPr>
          <a:xfrm>
            <a:off x="6262152"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3">
            <a:extLst>
              <a:ext uri="{FF2B5EF4-FFF2-40B4-BE49-F238E27FC236}">
                <a16:creationId xmlns:a16="http://schemas.microsoft.com/office/drawing/2014/main" id="{898DEF9C-35F5-AC43-85D8-042BB6291E6D}"/>
              </a:ext>
            </a:extLst>
          </p:cNvPr>
          <p:cNvSpPr>
            <a:spLocks noGrp="1"/>
          </p:cNvSpPr>
          <p:nvPr>
            <p:ph type="body" idx="16"/>
          </p:nvPr>
        </p:nvSpPr>
        <p:spPr>
          <a:xfrm>
            <a:off x="9012228" y="3733801"/>
            <a:ext cx="2438398" cy="553998"/>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3" name="Text Placeholder 13">
            <a:extLst>
              <a:ext uri="{FF2B5EF4-FFF2-40B4-BE49-F238E27FC236}">
                <a16:creationId xmlns:a16="http://schemas.microsoft.com/office/drawing/2014/main" id="{5BA3932E-1AC6-B44B-A77C-82301B14BAB6}"/>
              </a:ext>
            </a:extLst>
          </p:cNvPr>
          <p:cNvSpPr>
            <a:spLocks noGrp="1"/>
          </p:cNvSpPr>
          <p:nvPr>
            <p:ph type="body" sz="quarter" idx="17"/>
          </p:nvPr>
        </p:nvSpPr>
        <p:spPr>
          <a:xfrm>
            <a:off x="9012228" y="4114800"/>
            <a:ext cx="2438398"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59F14050-274F-D04C-A1C0-DBE3F9A37FF8}"/>
              </a:ext>
            </a:extLst>
          </p:cNvPr>
          <p:cNvSpPr>
            <a:spLocks noGrp="1"/>
          </p:cNvSpPr>
          <p:nvPr>
            <p:ph type="media" sz="quarter" idx="18"/>
          </p:nvPr>
        </p:nvSpPr>
        <p:spPr>
          <a:xfrm>
            <a:off x="762000" y="2284506"/>
            <a:ext cx="5188475" cy="276999"/>
          </a:xfrm>
        </p:spPr>
        <p:txBody>
          <a:bodyPr/>
          <a:lstStyle/>
          <a:p>
            <a:r>
              <a:rPr lang="en-US"/>
              <a:t>Click icon to add media</a:t>
            </a:r>
          </a:p>
        </p:txBody>
      </p:sp>
      <p:sp>
        <p:nvSpPr>
          <p:cNvPr id="19" name="Media Placeholder 16">
            <a:extLst>
              <a:ext uri="{FF2B5EF4-FFF2-40B4-BE49-F238E27FC236}">
                <a16:creationId xmlns:a16="http://schemas.microsoft.com/office/drawing/2014/main" id="{F4CE6B17-2D00-414A-B3E2-70EC851E55E2}"/>
              </a:ext>
            </a:extLst>
          </p:cNvPr>
          <p:cNvSpPr>
            <a:spLocks noGrp="1"/>
          </p:cNvSpPr>
          <p:nvPr>
            <p:ph type="media" sz="quarter" idx="20"/>
          </p:nvPr>
        </p:nvSpPr>
        <p:spPr>
          <a:xfrm>
            <a:off x="6262152" y="2284506"/>
            <a:ext cx="2438400" cy="553998"/>
          </a:xfrm>
        </p:spPr>
        <p:txBody>
          <a:bodyPr/>
          <a:lstStyle/>
          <a:p>
            <a:r>
              <a:rPr lang="en-US"/>
              <a:t>Click icon to add media</a:t>
            </a:r>
          </a:p>
        </p:txBody>
      </p:sp>
      <p:sp>
        <p:nvSpPr>
          <p:cNvPr id="20" name="Media Placeholder 16">
            <a:extLst>
              <a:ext uri="{FF2B5EF4-FFF2-40B4-BE49-F238E27FC236}">
                <a16:creationId xmlns:a16="http://schemas.microsoft.com/office/drawing/2014/main" id="{DBB1C7C8-4730-6748-9A97-B25E61E4176B}"/>
              </a:ext>
            </a:extLst>
          </p:cNvPr>
          <p:cNvSpPr>
            <a:spLocks noGrp="1"/>
          </p:cNvSpPr>
          <p:nvPr>
            <p:ph type="media" sz="quarter" idx="21"/>
          </p:nvPr>
        </p:nvSpPr>
        <p:spPr>
          <a:xfrm>
            <a:off x="9012228" y="2284506"/>
            <a:ext cx="2438400" cy="553998"/>
          </a:xfrm>
        </p:spPr>
        <p:txBody>
          <a:bodyPr/>
          <a:lstStyle/>
          <a:p>
            <a:r>
              <a:rPr lang="en-US"/>
              <a:t>Click icon to add media</a:t>
            </a:r>
          </a:p>
        </p:txBody>
      </p:sp>
    </p:spTree>
    <p:extLst>
      <p:ext uri="{BB962C8B-B14F-4D97-AF65-F5344CB8AC3E}">
        <p14:creationId xmlns:p14="http://schemas.microsoft.com/office/powerpoint/2010/main" val="38012941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Holder 2">
            <a:extLst>
              <a:ext uri="{FF2B5EF4-FFF2-40B4-BE49-F238E27FC236}">
                <a16:creationId xmlns:a16="http://schemas.microsoft.com/office/drawing/2014/main" id="{9985A9F1-11BF-CB41-8674-5E6A62276418}"/>
              </a:ext>
            </a:extLst>
          </p:cNvPr>
          <p:cNvSpPr>
            <a:spLocks noGrp="1"/>
          </p:cNvSpPr>
          <p:nvPr>
            <p:ph type="title"/>
          </p:nvPr>
        </p:nvSpPr>
        <p:spPr>
          <a:xfrm>
            <a:off x="762001" y="1524001"/>
            <a:ext cx="6781800" cy="553998"/>
          </a:xfrm>
        </p:spPr>
        <p:txBody>
          <a:bodyPr lIns="0" tIns="0" rIns="0" bIns="0"/>
          <a:lstStyle>
            <a:lvl1pPr>
              <a:defRPr sz="3600" b="1" i="0">
                <a:solidFill>
                  <a:schemeClr val="bg1"/>
                </a:solidFill>
                <a:latin typeface="Ubuntu"/>
                <a:cs typeface="Ubuntu"/>
              </a:defRPr>
            </a:lvl1pPr>
          </a:lstStyle>
          <a:p>
            <a:r>
              <a:rPr lang="en-US"/>
              <a:t>Click to edit Master title style</a:t>
            </a:r>
            <a:endParaRPr/>
          </a:p>
        </p:txBody>
      </p:sp>
      <p:sp>
        <p:nvSpPr>
          <p:cNvPr id="6" name="Holder 3">
            <a:extLst>
              <a:ext uri="{FF2B5EF4-FFF2-40B4-BE49-F238E27FC236}">
                <a16:creationId xmlns:a16="http://schemas.microsoft.com/office/drawing/2014/main" id="{5DC5557C-6F6E-FA47-A64A-03824081C48B}"/>
              </a:ext>
            </a:extLst>
          </p:cNvPr>
          <p:cNvSpPr>
            <a:spLocks noGrp="1"/>
          </p:cNvSpPr>
          <p:nvPr>
            <p:ph type="body" idx="1"/>
          </p:nvPr>
        </p:nvSpPr>
        <p:spPr>
          <a:xfrm>
            <a:off x="762002" y="3733800"/>
            <a:ext cx="5188472"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7" name="Text Placeholder 13">
            <a:extLst>
              <a:ext uri="{FF2B5EF4-FFF2-40B4-BE49-F238E27FC236}">
                <a16:creationId xmlns:a16="http://schemas.microsoft.com/office/drawing/2014/main" id="{E185A7C2-F491-394A-A583-8E4AAB88ED63}"/>
              </a:ext>
            </a:extLst>
          </p:cNvPr>
          <p:cNvSpPr>
            <a:spLocks noGrp="1"/>
          </p:cNvSpPr>
          <p:nvPr>
            <p:ph type="body" sz="quarter" idx="11"/>
          </p:nvPr>
        </p:nvSpPr>
        <p:spPr>
          <a:xfrm>
            <a:off x="762002" y="4114800"/>
            <a:ext cx="5188471"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3">
            <a:extLst>
              <a:ext uri="{FF2B5EF4-FFF2-40B4-BE49-F238E27FC236}">
                <a16:creationId xmlns:a16="http://schemas.microsoft.com/office/drawing/2014/main" id="{609E081C-5B40-8E42-A60C-A449ED125732}"/>
              </a:ext>
            </a:extLst>
          </p:cNvPr>
          <p:cNvSpPr>
            <a:spLocks noGrp="1"/>
          </p:cNvSpPr>
          <p:nvPr>
            <p:ph type="body" idx="14"/>
          </p:nvPr>
        </p:nvSpPr>
        <p:spPr>
          <a:xfrm>
            <a:off x="6262152" y="3733800"/>
            <a:ext cx="5188472"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68E38DC5-84B9-2D42-A8EE-7E1A6CA60E50}"/>
              </a:ext>
            </a:extLst>
          </p:cNvPr>
          <p:cNvSpPr>
            <a:spLocks noGrp="1"/>
          </p:cNvSpPr>
          <p:nvPr>
            <p:ph type="body" sz="quarter" idx="15"/>
          </p:nvPr>
        </p:nvSpPr>
        <p:spPr>
          <a:xfrm>
            <a:off x="6262152" y="4114800"/>
            <a:ext cx="5188470"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59F14050-274F-D04C-A1C0-DBE3F9A37FF8}"/>
              </a:ext>
            </a:extLst>
          </p:cNvPr>
          <p:cNvSpPr>
            <a:spLocks noGrp="1"/>
          </p:cNvSpPr>
          <p:nvPr>
            <p:ph type="media" sz="quarter" idx="18"/>
          </p:nvPr>
        </p:nvSpPr>
        <p:spPr>
          <a:xfrm>
            <a:off x="762000" y="2284506"/>
            <a:ext cx="5188475" cy="276999"/>
          </a:xfrm>
        </p:spPr>
        <p:txBody>
          <a:bodyPr/>
          <a:lstStyle/>
          <a:p>
            <a:r>
              <a:rPr lang="en-US"/>
              <a:t>Click icon to add media</a:t>
            </a:r>
          </a:p>
        </p:txBody>
      </p:sp>
      <p:sp>
        <p:nvSpPr>
          <p:cNvPr id="19" name="Media Placeholder 16">
            <a:extLst>
              <a:ext uri="{FF2B5EF4-FFF2-40B4-BE49-F238E27FC236}">
                <a16:creationId xmlns:a16="http://schemas.microsoft.com/office/drawing/2014/main" id="{F4CE6B17-2D00-414A-B3E2-70EC851E55E2}"/>
              </a:ext>
            </a:extLst>
          </p:cNvPr>
          <p:cNvSpPr>
            <a:spLocks noGrp="1"/>
          </p:cNvSpPr>
          <p:nvPr>
            <p:ph type="media" sz="quarter" idx="20"/>
          </p:nvPr>
        </p:nvSpPr>
        <p:spPr>
          <a:xfrm>
            <a:off x="6262152" y="2284506"/>
            <a:ext cx="5188474" cy="276999"/>
          </a:xfrm>
        </p:spPr>
        <p:txBody>
          <a:bodyPr/>
          <a:lstStyle/>
          <a:p>
            <a:r>
              <a:rPr lang="en-US"/>
              <a:t>Click icon to add media</a:t>
            </a:r>
          </a:p>
        </p:txBody>
      </p:sp>
    </p:spTree>
    <p:extLst>
      <p:ext uri="{BB962C8B-B14F-4D97-AF65-F5344CB8AC3E}">
        <p14:creationId xmlns:p14="http://schemas.microsoft.com/office/powerpoint/2010/main" val="697604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6" name="Holder 3">
            <a:extLst>
              <a:ext uri="{FF2B5EF4-FFF2-40B4-BE49-F238E27FC236}">
                <a16:creationId xmlns:a16="http://schemas.microsoft.com/office/drawing/2014/main" id="{5DC5557C-6F6E-FA47-A64A-03824081C48B}"/>
              </a:ext>
            </a:extLst>
          </p:cNvPr>
          <p:cNvSpPr>
            <a:spLocks noGrp="1"/>
          </p:cNvSpPr>
          <p:nvPr>
            <p:ph type="body" idx="1"/>
          </p:nvPr>
        </p:nvSpPr>
        <p:spPr>
          <a:xfrm>
            <a:off x="762002" y="3733800"/>
            <a:ext cx="5188472"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7" name="Text Placeholder 13">
            <a:extLst>
              <a:ext uri="{FF2B5EF4-FFF2-40B4-BE49-F238E27FC236}">
                <a16:creationId xmlns:a16="http://schemas.microsoft.com/office/drawing/2014/main" id="{E185A7C2-F491-394A-A583-8E4AAB88ED63}"/>
              </a:ext>
            </a:extLst>
          </p:cNvPr>
          <p:cNvSpPr>
            <a:spLocks noGrp="1"/>
          </p:cNvSpPr>
          <p:nvPr>
            <p:ph type="body" sz="quarter" idx="11"/>
          </p:nvPr>
        </p:nvSpPr>
        <p:spPr>
          <a:xfrm>
            <a:off x="762002" y="4114800"/>
            <a:ext cx="5188471"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3">
            <a:extLst>
              <a:ext uri="{FF2B5EF4-FFF2-40B4-BE49-F238E27FC236}">
                <a16:creationId xmlns:a16="http://schemas.microsoft.com/office/drawing/2014/main" id="{609E081C-5B40-8E42-A60C-A449ED125732}"/>
              </a:ext>
            </a:extLst>
          </p:cNvPr>
          <p:cNvSpPr>
            <a:spLocks noGrp="1"/>
          </p:cNvSpPr>
          <p:nvPr>
            <p:ph type="body" idx="14"/>
          </p:nvPr>
        </p:nvSpPr>
        <p:spPr>
          <a:xfrm>
            <a:off x="6262152" y="3733800"/>
            <a:ext cx="5188472"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68E38DC5-84B9-2D42-A8EE-7E1A6CA60E50}"/>
              </a:ext>
            </a:extLst>
          </p:cNvPr>
          <p:cNvSpPr>
            <a:spLocks noGrp="1"/>
          </p:cNvSpPr>
          <p:nvPr>
            <p:ph type="body" sz="quarter" idx="15"/>
          </p:nvPr>
        </p:nvSpPr>
        <p:spPr>
          <a:xfrm>
            <a:off x="6262152" y="4114800"/>
            <a:ext cx="5188470" cy="923330"/>
          </a:xfrm>
        </p:spPr>
        <p:txBody>
          <a:bodyPr/>
          <a:lstStyle>
            <a:lvl1pPr>
              <a:lnSpc>
                <a:spcPct val="100000"/>
              </a:lnSpc>
              <a:defRPr sz="1200" b="0">
                <a:solidFill>
                  <a:schemeClr val="bg2">
                    <a:lumMod val="50000"/>
                  </a:schemeClr>
                </a:solidFill>
              </a:defRPr>
            </a:lvl1pPr>
            <a:lvl2pPr>
              <a:lnSpc>
                <a:spcPct val="100000"/>
              </a:lnSpc>
              <a:defRPr sz="1200" b="0">
                <a:solidFill>
                  <a:schemeClr val="bg2">
                    <a:lumMod val="50000"/>
                  </a:schemeClr>
                </a:solidFill>
              </a:defRPr>
            </a:lvl2pPr>
            <a:lvl3pPr>
              <a:lnSpc>
                <a:spcPct val="100000"/>
              </a:lnSpc>
              <a:defRPr sz="1200" b="0">
                <a:solidFill>
                  <a:schemeClr val="bg2">
                    <a:lumMod val="50000"/>
                  </a:schemeClr>
                </a:solidFill>
              </a:defRPr>
            </a:lvl3pPr>
            <a:lvl4pPr>
              <a:lnSpc>
                <a:spcPct val="100000"/>
              </a:lnSpc>
              <a:defRPr sz="1200" b="0">
                <a:solidFill>
                  <a:schemeClr val="bg2">
                    <a:lumMod val="50000"/>
                  </a:schemeClr>
                </a:solidFill>
              </a:defRPr>
            </a:lvl4pPr>
            <a:lvl5pPr>
              <a:lnSpc>
                <a:spcPct val="100000"/>
              </a:lnSpc>
              <a:defRPr sz="12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59F14050-274F-D04C-A1C0-DBE3F9A37FF8}"/>
              </a:ext>
            </a:extLst>
          </p:cNvPr>
          <p:cNvSpPr>
            <a:spLocks noGrp="1"/>
          </p:cNvSpPr>
          <p:nvPr>
            <p:ph type="media" sz="quarter" idx="18"/>
          </p:nvPr>
        </p:nvSpPr>
        <p:spPr>
          <a:xfrm>
            <a:off x="762000" y="596444"/>
            <a:ext cx="5188475" cy="276999"/>
          </a:xfrm>
        </p:spPr>
        <p:txBody>
          <a:bodyPr/>
          <a:lstStyle/>
          <a:p>
            <a:r>
              <a:rPr lang="en-US"/>
              <a:t>Click icon to add media</a:t>
            </a:r>
          </a:p>
        </p:txBody>
      </p:sp>
      <p:sp>
        <p:nvSpPr>
          <p:cNvPr id="19" name="Media Placeholder 16">
            <a:extLst>
              <a:ext uri="{FF2B5EF4-FFF2-40B4-BE49-F238E27FC236}">
                <a16:creationId xmlns:a16="http://schemas.microsoft.com/office/drawing/2014/main" id="{F4CE6B17-2D00-414A-B3E2-70EC851E55E2}"/>
              </a:ext>
            </a:extLst>
          </p:cNvPr>
          <p:cNvSpPr>
            <a:spLocks noGrp="1"/>
          </p:cNvSpPr>
          <p:nvPr>
            <p:ph type="media" sz="quarter" idx="20"/>
          </p:nvPr>
        </p:nvSpPr>
        <p:spPr>
          <a:xfrm>
            <a:off x="6262152" y="596444"/>
            <a:ext cx="5188474" cy="276999"/>
          </a:xfrm>
        </p:spPr>
        <p:txBody>
          <a:bodyPr/>
          <a:lstStyle/>
          <a:p>
            <a:r>
              <a:rPr lang="en-US"/>
              <a:t>Click icon to add media</a:t>
            </a:r>
          </a:p>
        </p:txBody>
      </p:sp>
    </p:spTree>
    <p:extLst>
      <p:ext uri="{BB962C8B-B14F-4D97-AF65-F5344CB8AC3E}">
        <p14:creationId xmlns:p14="http://schemas.microsoft.com/office/powerpoint/2010/main" val="2294625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1219201" y="2125980"/>
            <a:ext cx="4343401"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2286000" y="3066621"/>
            <a:ext cx="3275648" cy="553998"/>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842464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450746" y="1524000"/>
            <a:ext cx="3040955" cy="861775"/>
          </a:xfrm>
        </p:spPr>
        <p:txBody>
          <a:bodyPr lIns="0" tIns="0" rIns="0" bIns="0"/>
          <a:lstStyle>
            <a:lvl1pPr>
              <a:defRPr sz="2800" b="1" i="0">
                <a:solidFill>
                  <a:schemeClr val="bg1"/>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8450173" y="2133600"/>
            <a:ext cx="3040955" cy="574040"/>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8450173" y="2819400"/>
            <a:ext cx="3040955" cy="1384995"/>
          </a:xfrm>
        </p:spPr>
        <p:txBody>
          <a:bodyPr/>
          <a:lstStyle>
            <a:lvl1pPr>
              <a:lnSpc>
                <a:spcPct val="100000"/>
              </a:lnSpc>
              <a:defRPr sz="1800" b="0">
                <a:solidFill>
                  <a:schemeClr val="bg2">
                    <a:lumMod val="50000"/>
                  </a:schemeClr>
                </a:solidFill>
              </a:defRPr>
            </a:lvl1pPr>
            <a:lvl2pPr>
              <a:lnSpc>
                <a:spcPct val="100000"/>
              </a:lnSpc>
              <a:defRPr sz="1800" b="0">
                <a:solidFill>
                  <a:schemeClr val="bg2">
                    <a:lumMod val="50000"/>
                  </a:schemeClr>
                </a:solidFill>
              </a:defRPr>
            </a:lvl2pPr>
            <a:lvl3pPr>
              <a:lnSpc>
                <a:spcPct val="100000"/>
              </a:lnSpc>
              <a:defRPr sz="1800" b="0">
                <a:solidFill>
                  <a:schemeClr val="bg2">
                    <a:lumMod val="50000"/>
                  </a:schemeClr>
                </a:solidFill>
              </a:defRPr>
            </a:lvl3pPr>
            <a:lvl4pPr>
              <a:lnSpc>
                <a:spcPct val="100000"/>
              </a:lnSpc>
              <a:defRPr sz="1800" b="0">
                <a:solidFill>
                  <a:schemeClr val="bg2">
                    <a:lumMod val="50000"/>
                  </a:schemeClr>
                </a:solidFill>
              </a:defRPr>
            </a:lvl4pPr>
            <a:lvl5pPr>
              <a:lnSpc>
                <a:spcPct val="100000"/>
              </a:lnSpc>
              <a:defRPr sz="18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0" y="0"/>
            <a:ext cx="8097069" cy="276999"/>
          </a:xfrm>
        </p:spPr>
        <p:txBody>
          <a:bodyPr/>
          <a:lstStyle/>
          <a:p>
            <a:r>
              <a:rPr lang="en-US"/>
              <a:t>Click icon to add media</a:t>
            </a:r>
          </a:p>
        </p:txBody>
      </p:sp>
    </p:spTree>
    <p:extLst>
      <p:ext uri="{BB962C8B-B14F-4D97-AF65-F5344CB8AC3E}">
        <p14:creationId xmlns:p14="http://schemas.microsoft.com/office/powerpoint/2010/main" val="8709630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bg1"/>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0"/>
            <a:ext cx="6919127"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0"/>
            <a:ext cx="6912252" cy="1384995"/>
          </a:xfrm>
        </p:spPr>
        <p:txBody>
          <a:bodyPr/>
          <a:lstStyle>
            <a:lvl1pPr>
              <a:lnSpc>
                <a:spcPct val="100000"/>
              </a:lnSpc>
              <a:defRPr sz="1800" b="0">
                <a:solidFill>
                  <a:schemeClr val="bg2">
                    <a:lumMod val="50000"/>
                  </a:schemeClr>
                </a:solidFill>
              </a:defRPr>
            </a:lvl1pPr>
            <a:lvl2pPr>
              <a:lnSpc>
                <a:spcPct val="100000"/>
              </a:lnSpc>
              <a:defRPr sz="1800" b="0">
                <a:solidFill>
                  <a:schemeClr val="bg2">
                    <a:lumMod val="50000"/>
                  </a:schemeClr>
                </a:solidFill>
              </a:defRPr>
            </a:lvl2pPr>
            <a:lvl3pPr>
              <a:lnSpc>
                <a:spcPct val="100000"/>
              </a:lnSpc>
              <a:defRPr sz="1800" b="0">
                <a:solidFill>
                  <a:schemeClr val="bg2">
                    <a:lumMod val="50000"/>
                  </a:schemeClr>
                </a:solidFill>
              </a:defRPr>
            </a:lvl3pPr>
            <a:lvl4pPr>
              <a:lnSpc>
                <a:spcPct val="100000"/>
              </a:lnSpc>
              <a:defRPr sz="1800" b="0">
                <a:solidFill>
                  <a:schemeClr val="bg2">
                    <a:lumMod val="50000"/>
                  </a:schemeClr>
                </a:solidFill>
              </a:defRPr>
            </a:lvl4pPr>
            <a:lvl5pPr>
              <a:lnSpc>
                <a:spcPct val="100000"/>
              </a:lnSpc>
              <a:defRPr sz="18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53401" y="0"/>
            <a:ext cx="4114801" cy="276999"/>
          </a:xfrm>
        </p:spPr>
        <p:txBody>
          <a:bodyPr/>
          <a:lstStyle/>
          <a:p>
            <a:r>
              <a:rPr lang="en-US"/>
              <a:t>Click icon to add media</a:t>
            </a:r>
          </a:p>
        </p:txBody>
      </p:sp>
    </p:spTree>
    <p:extLst>
      <p:ext uri="{BB962C8B-B14F-4D97-AF65-F5344CB8AC3E}">
        <p14:creationId xmlns:p14="http://schemas.microsoft.com/office/powerpoint/2010/main" val="33335980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2401F-A89C-E54D-B6AC-9431B99A7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100000">
                <a:schemeClr val="accent4"/>
              </a:gs>
              <a:gs pos="26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4765304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FFC42BB-5351-A045-AF41-44D21469C206}"/>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100000">
                <a:schemeClr val="accent1"/>
              </a:gs>
              <a:gs pos="26000">
                <a:schemeClr val="accent4"/>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084517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2401F-A89C-E54D-B6AC-9431B99A7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100000">
                <a:schemeClr val="accent2"/>
              </a:gs>
              <a:gs pos="26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0202207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_Title and Content">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58B2A76-F394-EC4A-BA9F-684FBB517A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99000">
                <a:schemeClr val="accent1"/>
              </a:gs>
              <a:gs pos="26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268011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734AB19-D217-D34A-A1C5-66D036C22A8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535"/>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99000">
                <a:srgbClr val="0B7461"/>
              </a:gs>
              <a:gs pos="26000">
                <a:schemeClr val="accent3"/>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828871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3_Title and Content">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451B0D-12C1-D645-AE70-B5D1DF82C7C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19"/>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99000">
                <a:schemeClr val="accent3"/>
              </a:gs>
              <a:gs pos="25000">
                <a:srgbClr val="0B746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919545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5_Title and Content">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451B0D-12C1-D645-AE70-B5D1DF82C7C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19"/>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99000">
                <a:schemeClr val="accent6"/>
              </a:gs>
              <a:gs pos="25000">
                <a:schemeClr val="accent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75694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6_Title and Content">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3D8A80-6F0C-CE4A-8B12-2E8AB199071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9" y="-26400"/>
            <a:ext cx="2160000" cy="2160000"/>
          </a:xfrm>
          <a:prstGeom prst="rect">
            <a:avLst/>
          </a:prstGeom>
        </p:spPr>
      </p:pic>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6089822" y="1295400"/>
            <a:ext cx="5257800" cy="276999"/>
          </a:xfrm>
        </p:spPr>
        <p:txBody>
          <a:bodyPr/>
          <a:lstStyle/>
          <a:p>
            <a:r>
              <a:rPr lang="en-US"/>
              <a:t>Click icon to add media</a:t>
            </a:r>
          </a:p>
        </p:txBody>
      </p:sp>
      <p:sp>
        <p:nvSpPr>
          <p:cNvPr id="8" name="Rectangle 7">
            <a:extLst>
              <a:ext uri="{FF2B5EF4-FFF2-40B4-BE49-F238E27FC236}">
                <a16:creationId xmlns:a16="http://schemas.microsoft.com/office/drawing/2014/main" id="{E675F2A2-BEAB-3046-AD68-0171F2C852CE}"/>
              </a:ext>
            </a:extLst>
          </p:cNvPr>
          <p:cNvSpPr/>
          <p:nvPr userDrawn="1"/>
        </p:nvSpPr>
        <p:spPr>
          <a:xfrm>
            <a:off x="838200" y="1295400"/>
            <a:ext cx="5251622" cy="4038600"/>
          </a:xfrm>
          <a:prstGeom prst="rect">
            <a:avLst/>
          </a:prstGeom>
          <a:gradFill>
            <a:gsLst>
              <a:gs pos="99000">
                <a:schemeClr val="accent5"/>
              </a:gs>
              <a:gs pos="25000">
                <a:schemeClr val="accent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216111"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216111"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547988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tx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1219201" y="2125980"/>
            <a:ext cx="4343401"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2286000" y="3066621"/>
            <a:ext cx="3275648" cy="553998"/>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685549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Title and Content">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2401F-A89C-E54D-B6AC-9431B99A7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100000">
                <a:schemeClr val="accent4"/>
              </a:gs>
              <a:gs pos="26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595366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302B31-9E1E-3743-976B-1F76DA57FC3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100000">
                <a:schemeClr val="accent2"/>
              </a:gs>
              <a:gs pos="26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879243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926DEB-A23E-1147-B006-16BF11A4F1D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535"/>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33000">
                <a:schemeClr val="accent4"/>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5187362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9B1FD2-00E9-E845-9849-0612F0827A36}"/>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78" y="-18535"/>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33000">
                <a:schemeClr val="accent2"/>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970450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3193DBD-5FEF-FF40-B656-1B893B8B5A4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33000">
                <a:schemeClr val="accent3"/>
              </a:gs>
              <a:gs pos="100000">
                <a:srgbClr val="0B746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272245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5A24951-9E83-6040-A7B4-AB06F549D3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100000">
                <a:schemeClr val="accent3"/>
              </a:gs>
              <a:gs pos="30000">
                <a:srgbClr val="0B746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4952058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353229-6B58-1D4B-A9C4-B1D434CAE7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476"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100000">
                <a:schemeClr val="accent5"/>
              </a:gs>
              <a:gs pos="30000">
                <a:schemeClr val="accent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658036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926DEB-A23E-1147-B006-16BF11A4F1D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535"/>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6096000" y="1295400"/>
            <a:ext cx="5251622" cy="4038600"/>
          </a:xfrm>
          <a:prstGeom prst="rect">
            <a:avLst/>
          </a:prstGeom>
          <a:gradFill>
            <a:gsLst>
              <a:gs pos="100000">
                <a:schemeClr val="accent6"/>
              </a:gs>
              <a:gs pos="30000">
                <a:schemeClr val="accent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6477000" y="1828799"/>
            <a:ext cx="4495800" cy="861775"/>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6477000" y="2438399"/>
            <a:ext cx="44958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38200" y="1295400"/>
            <a:ext cx="5257800" cy="276999"/>
          </a:xfrm>
        </p:spPr>
        <p:txBody>
          <a:bodyPr/>
          <a:lstStyle/>
          <a:p>
            <a:r>
              <a:rPr lang="en-US"/>
              <a:t>Click icon to add media</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552571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72401F-A89C-E54D-B6AC-9431B99A7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100000">
                <a:schemeClr val="accent4"/>
              </a:gs>
              <a:gs pos="26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Holder 2">
            <a:extLst>
              <a:ext uri="{FF2B5EF4-FFF2-40B4-BE49-F238E27FC236}">
                <a16:creationId xmlns:a16="http://schemas.microsoft.com/office/drawing/2014/main" id="{963D3D5A-294D-7047-ABDD-4EB5DC18606F}"/>
              </a:ext>
            </a:extLst>
          </p:cNvPr>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0" name="Text Placeholder 13">
            <a:extLst>
              <a:ext uri="{FF2B5EF4-FFF2-40B4-BE49-F238E27FC236}">
                <a16:creationId xmlns:a16="http://schemas.microsoft.com/office/drawing/2014/main" id="{50E53D65-958A-7342-94E4-68FEC5A98A40}"/>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7261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302B31-9E1E-3743-976B-1F76DA57FC3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100000">
                <a:schemeClr val="accent2"/>
              </a:gs>
              <a:gs pos="26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Holder 2">
            <a:extLst>
              <a:ext uri="{FF2B5EF4-FFF2-40B4-BE49-F238E27FC236}">
                <a16:creationId xmlns:a16="http://schemas.microsoft.com/office/drawing/2014/main" id="{9A9FA314-4FF6-9E4B-B34E-8241AEC08D82}"/>
              </a:ext>
            </a:extLst>
          </p:cNvPr>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0" name="Text Placeholder 13">
            <a:extLst>
              <a:ext uri="{FF2B5EF4-FFF2-40B4-BE49-F238E27FC236}">
                <a16:creationId xmlns:a16="http://schemas.microsoft.com/office/drawing/2014/main" id="{F94C9A12-1873-3F45-B38D-8ACF12D5CCA4}"/>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1121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tx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solidFill>
            <a:srgbClr val="0B74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1219201" y="2125980"/>
            <a:ext cx="4343401"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2286000" y="3066621"/>
            <a:ext cx="3275648" cy="553998"/>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291950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7_Title and Content">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926DEB-A23E-1147-B006-16BF11A4F1D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535"/>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33000">
                <a:schemeClr val="accent4"/>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Holder 2">
            <a:extLst>
              <a:ext uri="{FF2B5EF4-FFF2-40B4-BE49-F238E27FC236}">
                <a16:creationId xmlns:a16="http://schemas.microsoft.com/office/drawing/2014/main" id="{B9427861-09E4-664A-A694-F3732DF10180}"/>
              </a:ext>
            </a:extLst>
          </p:cNvPr>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9" name="Text Placeholder 13">
            <a:extLst>
              <a:ext uri="{FF2B5EF4-FFF2-40B4-BE49-F238E27FC236}">
                <a16:creationId xmlns:a16="http://schemas.microsoft.com/office/drawing/2014/main" id="{55F22A88-C530-B741-A3D6-EA1FB1566078}"/>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1470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8_Title and Content">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9B1FD2-00E9-E845-9849-0612F0827A36}"/>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78" y="-18535"/>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33000">
                <a:schemeClr val="accent2"/>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Holder 2">
            <a:extLst>
              <a:ext uri="{FF2B5EF4-FFF2-40B4-BE49-F238E27FC236}">
                <a16:creationId xmlns:a16="http://schemas.microsoft.com/office/drawing/2014/main" id="{13359543-2FEA-CD44-9324-89960DAAD2C5}"/>
              </a:ext>
            </a:extLst>
          </p:cNvPr>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0" name="Text Placeholder 13">
            <a:extLst>
              <a:ext uri="{FF2B5EF4-FFF2-40B4-BE49-F238E27FC236}">
                <a16:creationId xmlns:a16="http://schemas.microsoft.com/office/drawing/2014/main" id="{EF441EA2-4989-A646-ABD5-A2FC1789F2A5}"/>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0384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9_Title and Content">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3193DBD-5FEF-FF40-B656-1B893B8B5A4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33000">
                <a:schemeClr val="accent3"/>
              </a:gs>
              <a:gs pos="100000">
                <a:srgbClr val="0B746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Holder 2">
            <a:extLst>
              <a:ext uri="{FF2B5EF4-FFF2-40B4-BE49-F238E27FC236}">
                <a16:creationId xmlns:a16="http://schemas.microsoft.com/office/drawing/2014/main" id="{79E657B6-E0A7-F349-9C79-0089D3B3351F}"/>
              </a:ext>
            </a:extLst>
          </p:cNvPr>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0" name="Text Placeholder 13">
            <a:extLst>
              <a:ext uri="{FF2B5EF4-FFF2-40B4-BE49-F238E27FC236}">
                <a16:creationId xmlns:a16="http://schemas.microsoft.com/office/drawing/2014/main" id="{D8B7A06E-23A1-8245-B612-6C6A6A3C8331}"/>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003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0_Title and Content">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5A24951-9E83-6040-A7B4-AB06F549D3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100000">
                <a:schemeClr val="accent3"/>
              </a:gs>
              <a:gs pos="30000">
                <a:srgbClr val="0B746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Holder 2">
            <a:extLst>
              <a:ext uri="{FF2B5EF4-FFF2-40B4-BE49-F238E27FC236}">
                <a16:creationId xmlns:a16="http://schemas.microsoft.com/office/drawing/2014/main" id="{7BE38DCA-825B-964A-9083-6B60977CE21A}"/>
              </a:ext>
            </a:extLst>
          </p:cNvPr>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9" name="Text Placeholder 13">
            <a:extLst>
              <a:ext uri="{FF2B5EF4-FFF2-40B4-BE49-F238E27FC236}">
                <a16:creationId xmlns:a16="http://schemas.microsoft.com/office/drawing/2014/main" id="{E0BE9159-3372-E741-B5E1-299D3E9ABD57}"/>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5223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1_Title and Content">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353229-6B58-1D4B-A9C4-B1D434CAE7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476" y="0"/>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100000">
                <a:schemeClr val="accent5"/>
              </a:gs>
              <a:gs pos="30000">
                <a:schemeClr val="accent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Holder 2">
            <a:extLst>
              <a:ext uri="{FF2B5EF4-FFF2-40B4-BE49-F238E27FC236}">
                <a16:creationId xmlns:a16="http://schemas.microsoft.com/office/drawing/2014/main" id="{0696A7F1-BCD7-C84E-A419-0A2A249DF2DF}"/>
              </a:ext>
            </a:extLst>
          </p:cNvPr>
          <p:cNvSpPr txBox="1">
            <a:spLocks/>
          </p:cNvSpPr>
          <p:nvPr userDrawn="1"/>
        </p:nvSpPr>
        <p:spPr>
          <a:xfrm>
            <a:off x="1199456" y="1828800"/>
            <a:ext cx="9773344" cy="430887"/>
          </a:xfrm>
          <a:prstGeom prst="rect">
            <a:avLst/>
          </a:prstGeom>
          <a:noFill/>
        </p:spPr>
        <p:txBody>
          <a:bodyPr wrap="square" lIns="0" tIns="0" rIns="0" bIns="0">
            <a:spAutoFit/>
          </a:bodyPr>
          <a:lstStyle>
            <a:lvl1pPr eaLnBrk="1" hangingPunct="1">
              <a:defRPr sz="2800" b="1" i="0">
                <a:solidFill>
                  <a:schemeClr val="tx2"/>
                </a:solidFill>
                <a:latin typeface="Ubuntu" panose="020B0504030602030204" pitchFamily="34" charset="0"/>
                <a:ea typeface="+mj-ea"/>
                <a:cs typeface="Ubuntu" panose="020B0504030602030204" pitchFamily="34" charset="0"/>
              </a:defRPr>
            </a:lvl1pPr>
          </a:lstStyle>
          <a:p>
            <a:r>
              <a:rPr lang="en-US" sz="2800" kern="0"/>
              <a:t>Click to edit Master title style</a:t>
            </a:r>
          </a:p>
        </p:txBody>
      </p:sp>
      <p:sp>
        <p:nvSpPr>
          <p:cNvPr id="9" name="Text Placeholder 13">
            <a:extLst>
              <a:ext uri="{FF2B5EF4-FFF2-40B4-BE49-F238E27FC236}">
                <a16:creationId xmlns:a16="http://schemas.microsoft.com/office/drawing/2014/main" id="{733E1C8A-5657-6243-B5BB-61E1691E2F7C}"/>
              </a:ext>
            </a:extLst>
          </p:cNvPr>
          <p:cNvSpPr>
            <a:spLocks noGrp="1"/>
          </p:cNvSpPr>
          <p:nvPr>
            <p:ph type="body" sz="quarter" idx="12"/>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5170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2_Title and Content">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926DEB-A23E-1147-B006-16BF11A4F1D8}"/>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535"/>
            <a:ext cx="2160000" cy="2160000"/>
          </a:xfrm>
          <a:prstGeom prst="rect">
            <a:avLst/>
          </a:prstGeom>
        </p:spPr>
      </p:pic>
      <p:sp>
        <p:nvSpPr>
          <p:cNvPr id="4" name="Rectangle 3">
            <a:extLst>
              <a:ext uri="{FF2B5EF4-FFF2-40B4-BE49-F238E27FC236}">
                <a16:creationId xmlns:a16="http://schemas.microsoft.com/office/drawing/2014/main" id="{1E1867B0-972C-3540-B4ED-1DCCD462D2DC}"/>
              </a:ext>
            </a:extLst>
          </p:cNvPr>
          <p:cNvSpPr/>
          <p:nvPr userDrawn="1"/>
        </p:nvSpPr>
        <p:spPr>
          <a:xfrm>
            <a:off x="838200" y="1295400"/>
            <a:ext cx="10509422" cy="4038600"/>
          </a:xfrm>
          <a:prstGeom prst="rect">
            <a:avLst/>
          </a:prstGeom>
          <a:gradFill>
            <a:gsLst>
              <a:gs pos="100000">
                <a:schemeClr val="accent6"/>
              </a:gs>
              <a:gs pos="30000">
                <a:schemeClr val="accent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1199456" y="1828800"/>
            <a:ext cx="9773344"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1199456" y="2438399"/>
            <a:ext cx="9773344"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91CF02AF-A6B5-4B4A-B034-EFB84F6560DF}"/>
              </a:ext>
            </a:extLst>
          </p:cNvPr>
          <p:cNvSpPr/>
          <p:nvPr userDrawn="1"/>
        </p:nvSpPr>
        <p:spPr>
          <a:xfrm>
            <a:off x="11347622" y="5327822"/>
            <a:ext cx="310978" cy="310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333995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100000">
                <a:schemeClr val="accent1"/>
              </a:gs>
              <a:gs pos="51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26107078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4500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3791389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40000">
                <a:srgbClr val="0B7461"/>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36721322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100000">
                <a:srgbClr val="0B7461"/>
              </a:gs>
              <a:gs pos="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27902143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1219201" y="2125980"/>
            <a:ext cx="4343401"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2286000" y="3066621"/>
            <a:ext cx="3275648" cy="553998"/>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5608109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100000">
                <a:schemeClr val="accent6"/>
              </a:gs>
              <a:gs pos="0">
                <a:schemeClr val="accent5"/>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33888104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14000">
                <a:schemeClr val="accent6"/>
              </a:gs>
              <a:gs pos="100000">
                <a:schemeClr val="accent5"/>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7478490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14000">
                <a:schemeClr val="accent4"/>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5814216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Title and Conten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97934B-F844-8348-B1D8-15F43C3ADF08}"/>
              </a:ext>
            </a:extLst>
          </p:cNvPr>
          <p:cNvSpPr/>
          <p:nvPr userDrawn="1"/>
        </p:nvSpPr>
        <p:spPr>
          <a:xfrm>
            <a:off x="-31749" y="-76200"/>
            <a:ext cx="8140700" cy="6248400"/>
          </a:xfrm>
          <a:prstGeom prst="rect">
            <a:avLst/>
          </a:prstGeom>
          <a:gradFill flip="none" rotWithShape="1">
            <a:gsLst>
              <a:gs pos="100000">
                <a:schemeClr val="accent4"/>
              </a:gs>
              <a:gs pos="26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title"/>
          </p:nvPr>
        </p:nvSpPr>
        <p:spPr>
          <a:xfrm>
            <a:off x="762003" y="1524001"/>
            <a:ext cx="6912825" cy="430887"/>
          </a:xfrm>
        </p:spPr>
        <p:txBody>
          <a:bodyPr lIns="0" tIns="0" rIns="0" bIns="0"/>
          <a:lstStyle>
            <a:lvl1pPr>
              <a:defRPr sz="2800" b="1" i="0">
                <a:solidFill>
                  <a:schemeClr val="tx2"/>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755128" y="2133601"/>
            <a:ext cx="6919127" cy="276999"/>
          </a:xfrm>
        </p:spPr>
        <p:txBody>
          <a:bodyPr lIns="0" tIns="0" rIns="0" bIns="0"/>
          <a:lstStyle>
            <a:lvl1pPr>
              <a:defRPr sz="1800" b="1" i="0">
                <a:solidFill>
                  <a:schemeClr val="tx2"/>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762002" y="2819401"/>
            <a:ext cx="6912252"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8108952" y="0"/>
            <a:ext cx="4159250" cy="276999"/>
          </a:xfrm>
        </p:spPr>
        <p:txBody>
          <a:bodyPr/>
          <a:lstStyle/>
          <a:p>
            <a:r>
              <a:rPr lang="en-US"/>
              <a:t>Click icon to add media</a:t>
            </a:r>
          </a:p>
        </p:txBody>
      </p:sp>
    </p:spTree>
    <p:extLst>
      <p:ext uri="{BB962C8B-B14F-4D97-AF65-F5344CB8AC3E}">
        <p14:creationId xmlns:p14="http://schemas.microsoft.com/office/powerpoint/2010/main" val="25574197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ext">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 Aliquam euismod cursus ipsum. Hasellus erat metus, faucibus quis interdum id, viverra nec enim:</a:t>
            </a:r>
          </a:p>
          <a:p>
            <a:pPr lvl="0"/>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p:spPr>
        <p:txBody>
          <a:bodyPr>
            <a:noAutofit/>
          </a:bodyPr>
          <a:lstStyle>
            <a:lvl1pPr marL="0" indent="0">
              <a:buNone/>
              <a:defRPr sz="1300" b="1" cap="all" baseline="0"/>
            </a:lvl1pPr>
          </a:lstStyle>
          <a:p>
            <a:pPr lvl="0"/>
            <a:r>
              <a:rPr lang="en-GB" noProof="0"/>
              <a:t>INSERT SUBHEADING</a:t>
            </a:r>
          </a:p>
        </p:txBody>
      </p:sp>
    </p:spTree>
    <p:extLst>
      <p:ext uri="{BB962C8B-B14F-4D97-AF65-F5344CB8AC3E}">
        <p14:creationId xmlns:p14="http://schemas.microsoft.com/office/powerpoint/2010/main" val="20911488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ext with Headline">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 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n-GB" noProof="0"/>
              <a:t>INSERT SUBHEADING</a:t>
            </a:r>
          </a:p>
        </p:txBody>
      </p:sp>
    </p:spTree>
    <p:extLst>
      <p:ext uri="{BB962C8B-B14F-4D97-AF65-F5344CB8AC3E}">
        <p14:creationId xmlns:p14="http://schemas.microsoft.com/office/powerpoint/2010/main" val="33037993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ext">
    <p:bg>
      <p:bgPr>
        <a:solidFill>
          <a:schemeClr val="bg1"/>
        </a:solidFill>
        <a:effectLst/>
      </p:bgPr>
    </p:bg>
    <p:spTree>
      <p:nvGrpSpPr>
        <p:cNvPr id="1" name=""/>
        <p:cNvGrpSpPr/>
        <p:nvPr/>
      </p:nvGrpSpPr>
      <p:grpSpPr>
        <a:xfrm>
          <a:off x="0" y="0"/>
          <a:ext cx="0" cy="0"/>
          <a:chOff x="0" y="0"/>
          <a:chExt cx="0" cy="0"/>
        </a:xfrm>
      </p:grpSpPr>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1745320"/>
            <a:ext cx="11262706" cy="1989772"/>
          </a:xfrm>
        </p:spPr>
        <p:txBody>
          <a:bodyPr/>
          <a:lstStyle>
            <a:lvl1pPr marL="0" indent="0">
              <a:buNone/>
              <a:defRPr>
                <a:solidFill>
                  <a:schemeClr val="tx1">
                    <a:lumMod val="60000"/>
                    <a:lumOff val="40000"/>
                  </a:schemeClr>
                </a:solidFill>
              </a:defRPr>
            </a:lvl1pPr>
          </a:lstStyle>
          <a:p>
            <a:pPr lvl="0"/>
            <a:r>
              <a:rPr lang="en-GB" noProof="0"/>
              <a:t>Lorem ipsum </a:t>
            </a:r>
            <a:r>
              <a:rPr lang="en-GB" noProof="0" err="1"/>
              <a:t>dolor</a:t>
            </a:r>
            <a:r>
              <a:rPr lang="en-GB" noProof="0"/>
              <a:t> sit </a:t>
            </a:r>
            <a:r>
              <a:rPr lang="en-GB" noProof="0" err="1"/>
              <a:t>amet</a:t>
            </a:r>
            <a:r>
              <a:rPr lang="en-GB" noProof="0"/>
              <a:t>, </a:t>
            </a:r>
            <a:r>
              <a:rPr lang="en-GB" noProof="0" err="1"/>
              <a:t>consectetur</a:t>
            </a:r>
            <a:r>
              <a:rPr lang="en-GB" noProof="0"/>
              <a:t> </a:t>
            </a:r>
            <a:r>
              <a:rPr lang="en-GB" noProof="0" err="1"/>
              <a:t>adipiscing</a:t>
            </a:r>
            <a:r>
              <a:rPr lang="en-GB" noProof="0"/>
              <a:t> </a:t>
            </a:r>
            <a:r>
              <a:rPr lang="en-GB" noProof="0" err="1"/>
              <a:t>elit</a:t>
            </a:r>
            <a:r>
              <a:rPr lang="en-GB" noProof="0"/>
              <a:t>. </a:t>
            </a:r>
            <a:r>
              <a:rPr lang="en-GB" noProof="0" err="1"/>
              <a:t>Aliquam</a:t>
            </a:r>
            <a:r>
              <a:rPr lang="en-GB" noProof="0"/>
              <a:t> </a:t>
            </a:r>
            <a:r>
              <a:rPr lang="en-GB" noProof="0" err="1"/>
              <a:t>euismod</a:t>
            </a:r>
            <a:r>
              <a:rPr lang="en-GB" noProof="0"/>
              <a:t> cursus ipsum. </a:t>
            </a:r>
            <a:r>
              <a:rPr lang="en-GB" noProof="0" err="1"/>
              <a:t>Hasellus</a:t>
            </a:r>
            <a:r>
              <a:rPr lang="en-GB" noProof="0"/>
              <a:t> </a:t>
            </a:r>
            <a:r>
              <a:rPr lang="en-GB" noProof="0" err="1"/>
              <a:t>erat</a:t>
            </a:r>
            <a:r>
              <a:rPr lang="en-GB" noProof="0"/>
              <a:t> </a:t>
            </a:r>
            <a:r>
              <a:rPr lang="en-GB" noProof="0" err="1"/>
              <a:t>metus</a:t>
            </a:r>
            <a:r>
              <a:rPr lang="en-GB" noProof="0"/>
              <a:t>, </a:t>
            </a:r>
            <a:r>
              <a:rPr lang="en-GB" noProof="0" err="1"/>
              <a:t>faucibus</a:t>
            </a:r>
            <a:r>
              <a:rPr lang="en-GB" noProof="0"/>
              <a:t> </a:t>
            </a:r>
            <a:r>
              <a:rPr lang="en-GB" noProof="0" err="1"/>
              <a:t>quis</a:t>
            </a:r>
            <a:r>
              <a:rPr lang="en-GB" noProof="0"/>
              <a:t> </a:t>
            </a:r>
            <a:r>
              <a:rPr lang="en-GB" noProof="0" err="1"/>
              <a:t>interdum</a:t>
            </a:r>
            <a:r>
              <a:rPr lang="en-GB" noProof="0"/>
              <a:t> id, </a:t>
            </a:r>
            <a:r>
              <a:rPr lang="en-GB" noProof="0" err="1"/>
              <a:t>viverra</a:t>
            </a:r>
            <a:r>
              <a:rPr lang="en-GB" noProof="0"/>
              <a:t> </a:t>
            </a:r>
            <a:r>
              <a:rPr lang="en-GB" noProof="0" err="1"/>
              <a:t>nec</a:t>
            </a:r>
            <a:r>
              <a:rPr lang="en-GB" noProof="0"/>
              <a:t> </a:t>
            </a:r>
            <a:r>
              <a:rPr lang="en-GB" noProof="0" err="1"/>
              <a:t>enim</a:t>
            </a:r>
            <a:r>
              <a:rPr lang="en-GB" noProof="0"/>
              <a:t>:</a:t>
            </a:r>
            <a:br>
              <a:rPr lang="en-GB" noProof="0"/>
            </a:br>
            <a:r>
              <a:rPr lang="en-GB" noProof="0"/>
              <a:t>	• Insert text here</a:t>
            </a:r>
            <a:br>
              <a:rPr lang="en-GB" noProof="0"/>
            </a:br>
            <a:r>
              <a:rPr lang="en-GB" noProof="0"/>
              <a:t>                      • Insert text here</a:t>
            </a:r>
            <a:br>
              <a:rPr lang="en-GB" noProof="0"/>
            </a:br>
            <a:r>
              <a:rPr lang="en-GB" noProof="0"/>
              <a:t>	</a:t>
            </a:r>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n-GB" noProof="0"/>
              <a:t>Insert Title Here</a:t>
            </a:r>
            <a:br>
              <a:rPr lang="en-GB" noProof="0"/>
            </a:br>
            <a:r>
              <a:rPr lang="en-GB" noProof="0"/>
              <a:t>Max 2 lines</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n-GB" noProof="0"/>
              <a:t>INSERT SUBHEADING</a:t>
            </a:r>
          </a:p>
        </p:txBody>
      </p:sp>
    </p:spTree>
    <p:extLst>
      <p:ext uri="{BB962C8B-B14F-4D97-AF65-F5344CB8AC3E}">
        <p14:creationId xmlns:p14="http://schemas.microsoft.com/office/powerpoint/2010/main" val="976329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ext_Column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n-GB" noProof="0"/>
              <a:t>Insert Title Here</a:t>
            </a:r>
            <a:br>
              <a:rPr lang="en-GB" noProof="0"/>
            </a:br>
            <a:r>
              <a:rPr lang="en-GB" noProof="0"/>
              <a:t>Max 2 lines</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 Aliquam euismod cursus ipsum. Hasellus erat metus, faucibus quis interdum id, viverra nec enim. Nulla lacus dui, gravida ac ornare ac.</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n-GB" noProof="0"/>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n-GB" noProof="0"/>
              <a:t>Body subhead (second level tex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 Aliquam euismod cursus ipsum. Hasellus erat metus, faucibus quis interdum id, viverra nec enim. Nulla lacus dui, gravida ac ornare ac.</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n-GB" noProof="0"/>
              <a:t>Body subhead (second level tex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Tree>
    <p:extLst>
      <p:ext uri="{BB962C8B-B14F-4D97-AF65-F5344CB8AC3E}">
        <p14:creationId xmlns:p14="http://schemas.microsoft.com/office/powerpoint/2010/main" val="10098860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ext_Emphasis_White_Background">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40" y="1479572"/>
            <a:ext cx="10923594" cy="1589066"/>
          </a:xfrm>
        </p:spPr>
        <p:txBody>
          <a:bodyPr/>
          <a:lstStyle>
            <a:lvl1pPr>
              <a:defRPr sz="5000"/>
            </a:lvl1pPr>
          </a:lstStyle>
          <a:p>
            <a:r>
              <a:rPr lang="en-GB" noProof="0"/>
              <a:t>Lorem ipsum dolor sit amet, consectetur adipiscing eli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n-GB" noProof="0"/>
              <a:t>Aliquam euismod cursus ipsum. Hasellus erat metus, faucibus quis interdum id, viverra nec enim.</a:t>
            </a:r>
          </a:p>
        </p:txBody>
      </p:sp>
    </p:spTree>
    <p:extLst>
      <p:ext uri="{BB962C8B-B14F-4D97-AF65-F5344CB8AC3E}">
        <p14:creationId xmlns:p14="http://schemas.microsoft.com/office/powerpoint/2010/main" val="8905982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ext_Emphasis_Blue_Background">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10923594" cy="1589066"/>
          </a:xfrm>
        </p:spPr>
        <p:txBody>
          <a:bodyPr/>
          <a:lstStyle>
            <a:lvl1pPr>
              <a:defRPr sz="5000">
                <a:solidFill>
                  <a:schemeClr val="bg1"/>
                </a:solidFill>
              </a:defRPr>
            </a:lvl1pPr>
          </a:lstStyle>
          <a:p>
            <a:r>
              <a:rPr lang="en-GB" noProof="0"/>
              <a:t>Lorem ipsum dolor sit amet, consectetur adipiscing eli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n-GB" noProof="0" err="1"/>
              <a:t>Aliquam</a:t>
            </a:r>
            <a:r>
              <a:rPr lang="en-GB" noProof="0"/>
              <a:t> </a:t>
            </a:r>
            <a:r>
              <a:rPr lang="en-GB" noProof="0" err="1"/>
              <a:t>euismod</a:t>
            </a:r>
            <a:r>
              <a:rPr lang="en-GB" noProof="0"/>
              <a:t> cursus ipsum. </a:t>
            </a:r>
            <a:r>
              <a:rPr lang="en-GB" noProof="0" err="1"/>
              <a:t>Hasellus</a:t>
            </a:r>
            <a:r>
              <a:rPr lang="en-GB" noProof="0"/>
              <a:t> </a:t>
            </a:r>
            <a:r>
              <a:rPr lang="en-GB" noProof="0" err="1"/>
              <a:t>erat</a:t>
            </a:r>
            <a:r>
              <a:rPr lang="en-GB" noProof="0"/>
              <a:t> </a:t>
            </a:r>
            <a:r>
              <a:rPr lang="en-GB" noProof="0" err="1"/>
              <a:t>metus</a:t>
            </a:r>
            <a:r>
              <a:rPr lang="en-GB" noProof="0"/>
              <a:t>, </a:t>
            </a:r>
            <a:r>
              <a:rPr lang="en-GB" noProof="0" err="1"/>
              <a:t>faucibus</a:t>
            </a:r>
            <a:r>
              <a:rPr lang="en-GB" noProof="0"/>
              <a:t> </a:t>
            </a:r>
            <a:r>
              <a:rPr lang="en-GB" noProof="0" err="1"/>
              <a:t>quis</a:t>
            </a:r>
            <a:r>
              <a:rPr lang="en-GB" noProof="0"/>
              <a:t> </a:t>
            </a:r>
            <a:r>
              <a:rPr lang="en-GB" noProof="0" err="1"/>
              <a:t>interdum</a:t>
            </a:r>
            <a:r>
              <a:rPr lang="en-GB" noProof="0"/>
              <a:t> id, </a:t>
            </a:r>
            <a:r>
              <a:rPr lang="en-GB" noProof="0" err="1"/>
              <a:t>viverra</a:t>
            </a:r>
            <a:r>
              <a:rPr lang="en-GB" noProof="0"/>
              <a:t> </a:t>
            </a:r>
            <a:r>
              <a:rPr lang="en-GB" noProof="0" err="1"/>
              <a:t>nec</a:t>
            </a:r>
            <a:r>
              <a:rPr lang="en-GB" noProof="0"/>
              <a:t> </a:t>
            </a:r>
            <a:r>
              <a:rPr lang="en-GB" noProof="0" err="1"/>
              <a:t>enim</a:t>
            </a:r>
            <a:r>
              <a:rPr lang="en-GB" noProof="0"/>
              <a:t>.</a:t>
            </a:r>
          </a:p>
        </p:txBody>
      </p:sp>
    </p:spTree>
    <p:extLst>
      <p:ext uri="{BB962C8B-B14F-4D97-AF65-F5344CB8AC3E}">
        <p14:creationId xmlns:p14="http://schemas.microsoft.com/office/powerpoint/2010/main" val="1132482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1219201" y="2125980"/>
            <a:ext cx="4343401"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2286000" y="3066621"/>
            <a:ext cx="3275648" cy="553998"/>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075033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4054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Blue Backgroun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47675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Text_Round_Image">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Tree>
    <p:extLst>
      <p:ext uri="{BB962C8B-B14F-4D97-AF65-F5344CB8AC3E}">
        <p14:creationId xmlns:p14="http://schemas.microsoft.com/office/powerpoint/2010/main" val="3217343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ext_Round_Image">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Tree>
    <p:extLst>
      <p:ext uri="{BB962C8B-B14F-4D97-AF65-F5344CB8AC3E}">
        <p14:creationId xmlns:p14="http://schemas.microsoft.com/office/powerpoint/2010/main" val="17103588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Text_Round_Image_Blue_Background">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bg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7" y="2461480"/>
            <a:ext cx="4595521" cy="2717800"/>
          </a:xfrm>
        </p:spPr>
        <p:txBody>
          <a:bodyPr/>
          <a:lstStyle>
            <a:lvl1pPr marL="0" indent="0">
              <a:buNone/>
              <a:defRPr>
                <a:solidFill>
                  <a:schemeClr val="bg1"/>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p:spPr>
        <p:txBody>
          <a:bodyPr>
            <a:noAutofit/>
          </a:bodyPr>
          <a:lstStyle>
            <a:lvl1pPr marL="0" indent="0">
              <a:buNone/>
              <a:defRPr sz="1300" b="1" cap="all" baseline="0">
                <a:solidFill>
                  <a:schemeClr val="bg1"/>
                </a:solidFill>
              </a:defRPr>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GB" noProof="0"/>
              <a:t>Insert image</a:t>
            </a:r>
          </a:p>
        </p:txBody>
      </p:sp>
    </p:spTree>
    <p:extLst>
      <p:ext uri="{BB962C8B-B14F-4D97-AF65-F5344CB8AC3E}">
        <p14:creationId xmlns:p14="http://schemas.microsoft.com/office/powerpoint/2010/main" val="4086388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Text_With_Square_Image">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p:spPr>
        <p:txBody>
          <a:bodyPr>
            <a:noAutofit/>
          </a:bodyPr>
          <a:lstStyle>
            <a:lvl1pPr marL="0" indent="0">
              <a:buNone/>
              <a:defRPr sz="1300" b="1" cap="all" baseline="0"/>
            </a:lvl1pPr>
          </a:lstStyle>
          <a:p>
            <a:pPr lvl="0"/>
            <a:r>
              <a:rPr lang="en-GB" noProof="0"/>
              <a:t>INSERT SUBHEADING</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solidFill>
            <a:schemeClr val="accent1">
              <a:lumMod val="20000"/>
              <a:lumOff val="80000"/>
            </a:schemeClr>
          </a:solidFill>
        </p:spPr>
        <p:txBody>
          <a:bodyPr anchor="ctr">
            <a:normAutofit/>
          </a:bodyPr>
          <a:lstStyle>
            <a:lvl1pPr algn="ctr">
              <a:defRPr sz="1600"/>
            </a:lvl1pPr>
          </a:lstStyle>
          <a:p>
            <a:r>
              <a:rPr lang="en-GB" noProof="0"/>
              <a:t>Image</a:t>
            </a:r>
          </a:p>
        </p:txBody>
      </p:sp>
    </p:spTree>
    <p:extLst>
      <p:ext uri="{BB962C8B-B14F-4D97-AF65-F5344CB8AC3E}">
        <p14:creationId xmlns:p14="http://schemas.microsoft.com/office/powerpoint/2010/main" val="19388507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ext_With_Square_Image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n-GB" noProof="0"/>
              <a:t>Insert Title Here</a:t>
            </a:r>
            <a:br>
              <a:rPr lang="en-GB" noProof="0"/>
            </a:br>
            <a:r>
              <a:rPr lang="en-GB" noProof="0"/>
              <a:t>Max 2 lines</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p:spPr>
        <p:txBody>
          <a:bodyPr>
            <a:noAutofit/>
          </a:bodyPr>
          <a:lstStyle>
            <a:lvl1pPr marL="0" indent="0">
              <a:buNone/>
              <a:defRPr sz="1300" b="1" cap="all" baseline="0"/>
            </a:lvl1pPr>
          </a:lstStyle>
          <a:p>
            <a:pPr lvl="0"/>
            <a:r>
              <a:rPr lang="en-GB" noProof="0"/>
              <a:t>INSERT SUBHEADING</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solidFill>
            <a:schemeClr val="accent1">
              <a:lumMod val="20000"/>
              <a:lumOff val="80000"/>
            </a:schemeClr>
          </a:solidFill>
        </p:spPr>
        <p:txBody>
          <a:bodyPr anchor="ctr">
            <a:normAutofit/>
          </a:bodyPr>
          <a:lstStyle>
            <a:lvl1pPr algn="ctr">
              <a:defRPr sz="1600"/>
            </a:lvl1pPr>
          </a:lstStyle>
          <a:p>
            <a:r>
              <a:rPr lang="en-GB" noProof="0"/>
              <a:t>Image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solidFill>
            <a:schemeClr val="accent1">
              <a:lumMod val="20000"/>
              <a:lumOff val="80000"/>
            </a:schemeClr>
          </a:solidFill>
        </p:spPr>
        <p:txBody>
          <a:bodyPr anchor="ctr">
            <a:normAutofit/>
          </a:bodyPr>
          <a:lstStyle>
            <a:lvl1pPr algn="ctr">
              <a:defRPr sz="1600"/>
            </a:lvl1pPr>
          </a:lstStyle>
          <a:p>
            <a:r>
              <a:rPr lang="en-GB" noProof="0"/>
              <a:t>Image</a:t>
            </a:r>
          </a:p>
        </p:txBody>
      </p:sp>
    </p:spTree>
    <p:extLst>
      <p:ext uri="{BB962C8B-B14F-4D97-AF65-F5344CB8AC3E}">
        <p14:creationId xmlns:p14="http://schemas.microsoft.com/office/powerpoint/2010/main" val="39666343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1A_Text_Image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47" y="2461480"/>
            <a:ext cx="3881225"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p:spPr>
        <p:txBody>
          <a:bodyPr>
            <a:noAutofit/>
          </a:bodyPr>
          <a:lstStyle>
            <a:lvl1pPr marL="0" indent="0">
              <a:buNone/>
              <a:defRPr sz="1300" b="1" cap="all" baseline="0"/>
            </a:lvl1pPr>
          </a:lstStyle>
          <a:p>
            <a:pPr lvl="0"/>
            <a:r>
              <a:rPr lang="en-GB" noProof="0"/>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solidFill>
            <a:schemeClr val="accent1">
              <a:lumMod val="20000"/>
              <a:lumOff val="80000"/>
            </a:schemeClr>
          </a:solidFill>
        </p:spPr>
        <p:txBody>
          <a:bodyPr anchor="ctr">
            <a:normAutofit/>
          </a:bodyPr>
          <a:lstStyle>
            <a:lvl1pPr algn="ctr">
              <a:defRPr sz="1600"/>
            </a:lvl1pPr>
          </a:lstStyle>
          <a:p>
            <a:r>
              <a:rPr lang="en-GB" noProof="0"/>
              <a:t>Image</a:t>
            </a:r>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solidFill>
            <a:schemeClr val="accent1">
              <a:lumMod val="20000"/>
              <a:lumOff val="80000"/>
            </a:schemeClr>
          </a:solidFill>
        </p:spPr>
        <p:txBody>
          <a:bodyPr anchor="ctr">
            <a:normAutofit/>
          </a:bodyPr>
          <a:lstStyle>
            <a:lvl1pPr algn="ctr">
              <a:defRPr sz="1600"/>
            </a:lvl1pPr>
          </a:lstStyle>
          <a:p>
            <a:r>
              <a:rPr lang="en-GB" noProof="0"/>
              <a:t>Image</a:t>
            </a:r>
          </a:p>
        </p:txBody>
      </p:sp>
    </p:spTree>
    <p:extLst>
      <p:ext uri="{BB962C8B-B14F-4D97-AF65-F5344CB8AC3E}">
        <p14:creationId xmlns:p14="http://schemas.microsoft.com/office/powerpoint/2010/main" val="7530545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2A_Text_Image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n-GB" noProof="0" smtClean="0"/>
              <a:pPr/>
              <a:t>‹#›</a:t>
            </a:fld>
            <a:endParaRPr lang="en-GB" noProof="0"/>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n-GB" noProof="0"/>
              <a:t>Insert Title Here</a:t>
            </a:r>
            <a:br>
              <a:rPr lang="en-GB" noProof="0"/>
            </a:br>
            <a:r>
              <a:rPr lang="en-GB" noProof="0"/>
              <a:t>Max 2 lines</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n-GB" noProof="0"/>
              <a:t>Body subhead (second level tex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a:t>
            </a:r>
            <a:br>
              <a:rPr lang="en-GB" noProof="0"/>
            </a:br>
            <a:r>
              <a:rPr lang="en-GB" noProof="0"/>
              <a:t>Aliquam  euismod cursus ipsum. Hasellus erat metus, faucibus quis interdum id, viverra nec enim:</a:t>
            </a:r>
            <a:br>
              <a:rPr lang="en-GB" noProof="0"/>
            </a:br>
            <a:r>
              <a:rPr lang="en-GB" noProof="0"/>
              <a:t>         • Insert text here</a:t>
            </a:r>
            <a:br>
              <a:rPr lang="en-GB" noProof="0"/>
            </a:br>
            <a:r>
              <a:rPr lang="en-GB" noProof="0"/>
              <a:t>                 • Insert text here</a:t>
            </a:r>
            <a:br>
              <a:rPr lang="en-GB" noProof="0"/>
            </a:br>
            <a:r>
              <a:rPr lang="en-GB" noProof="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n-GB" noProof="0"/>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solidFill>
            <a:schemeClr val="accent1">
              <a:lumMod val="20000"/>
              <a:lumOff val="80000"/>
            </a:schemeClr>
          </a:solidFill>
        </p:spPr>
        <p:txBody>
          <a:bodyPr anchor="ctr">
            <a:normAutofit/>
          </a:bodyPr>
          <a:lstStyle>
            <a:lvl1pPr algn="ctr">
              <a:defRPr sz="1600"/>
            </a:lvl1pPr>
          </a:lstStyle>
          <a:p>
            <a:r>
              <a:rPr lang="en-GB" noProof="0"/>
              <a:t>Image</a:t>
            </a:r>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solidFill>
            <a:schemeClr val="accent1">
              <a:lumMod val="20000"/>
              <a:lumOff val="80000"/>
            </a:schemeClr>
          </a:solidFill>
        </p:spPr>
        <p:txBody>
          <a:bodyPr anchor="ctr">
            <a:normAutofit/>
          </a:bodyPr>
          <a:lstStyle>
            <a:lvl1pPr algn="ctr">
              <a:defRPr sz="1600"/>
            </a:lvl1pPr>
          </a:lstStyle>
          <a:p>
            <a:r>
              <a:rPr lang="en-GB" noProof="0"/>
              <a:t>Image</a:t>
            </a:r>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solidFill>
            <a:schemeClr val="accent1">
              <a:lumMod val="20000"/>
              <a:lumOff val="80000"/>
            </a:schemeClr>
          </a:solidFill>
        </p:spPr>
        <p:txBody>
          <a:bodyPr anchor="ctr">
            <a:normAutofit/>
          </a:bodyPr>
          <a:lstStyle>
            <a:lvl1pPr algn="ctr">
              <a:defRPr sz="1600"/>
            </a:lvl1pPr>
          </a:lstStyle>
          <a:p>
            <a:r>
              <a:rPr lang="en-GB" noProof="0"/>
              <a:t>Image</a:t>
            </a:r>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solidFill>
            <a:schemeClr val="accent1">
              <a:lumMod val="20000"/>
              <a:lumOff val="80000"/>
            </a:schemeClr>
          </a:solidFill>
        </p:spPr>
        <p:txBody>
          <a:bodyPr anchor="ctr">
            <a:normAutofit/>
          </a:bodyPr>
          <a:lstStyle>
            <a:lvl1pPr algn="ctr">
              <a:defRPr sz="1600"/>
            </a:lvl1pPr>
          </a:lstStyle>
          <a:p>
            <a:r>
              <a:rPr lang="en-GB" noProof="0"/>
              <a:t>Image</a:t>
            </a:r>
          </a:p>
        </p:txBody>
      </p:sp>
    </p:spTree>
    <p:extLst>
      <p:ext uri="{BB962C8B-B14F-4D97-AF65-F5344CB8AC3E}">
        <p14:creationId xmlns:p14="http://schemas.microsoft.com/office/powerpoint/2010/main" val="42474175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Text_Round_Image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n-GB" noProof="0"/>
              <a:t>Insert Title Here</a:t>
            </a:r>
            <a:br>
              <a:rPr lang="en-GB" noProof="0"/>
            </a:br>
            <a:r>
              <a:rPr lang="en-GB" noProof="0"/>
              <a:t>Max 2 lines</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n-GB" noProof="0"/>
              <a:t>Lorem ipsum dolor sit amet, consectetur adipiscing eli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p:spPr>
        <p:txBody>
          <a:bodyPr>
            <a:noAutofit/>
          </a:bodyPr>
          <a:lstStyle>
            <a:lvl1pPr marL="0" indent="0">
              <a:buNone/>
              <a:defRPr sz="1300" b="1" cap="all" baseline="0"/>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p:spPr>
        <p:txBody>
          <a:bodyPr/>
          <a:lstStyle>
            <a:lvl1pPr algn="ctr">
              <a:defRPr b="1">
                <a:solidFill>
                  <a:schemeClr val="tx2"/>
                </a:solidFill>
              </a:defRPr>
            </a:lvl1pPr>
          </a:lstStyle>
          <a:p>
            <a:pPr lvl="0"/>
            <a:r>
              <a:rPr lang="en-GB" noProof="0"/>
              <a:t>Body Subhead</a:t>
            </a:r>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n-GB" noProof="0"/>
              <a:t>Lorem ipsum dolor sit amet, consectetur adipiscing eli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p:spPr>
        <p:txBody>
          <a:bodyPr/>
          <a:lstStyle>
            <a:lvl1pPr algn="ctr">
              <a:defRPr b="1">
                <a:solidFill>
                  <a:schemeClr val="tx2"/>
                </a:solidFill>
              </a:defRPr>
            </a:lvl1pPr>
          </a:lstStyle>
          <a:p>
            <a:pPr lvl="0"/>
            <a:r>
              <a:rPr lang="en-GB" noProof="0"/>
              <a:t>Body Subhead</a:t>
            </a:r>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n-GB" noProof="0"/>
              <a:t>Lorem ipsum dolor sit amet, consectetur adipiscing eli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p:spPr>
        <p:txBody>
          <a:bodyPr/>
          <a:lstStyle>
            <a:lvl1pPr algn="ctr">
              <a:defRPr b="1">
                <a:solidFill>
                  <a:schemeClr val="tx2"/>
                </a:solidFill>
              </a:defRPr>
            </a:lvl1pPr>
          </a:lstStyle>
          <a:p>
            <a:pPr lvl="0"/>
            <a:r>
              <a:rPr lang="en-GB" noProof="0"/>
              <a:t>Body Subhead</a:t>
            </a:r>
          </a:p>
        </p:txBody>
      </p:sp>
    </p:spTree>
    <p:extLst>
      <p:ext uri="{BB962C8B-B14F-4D97-AF65-F5344CB8AC3E}">
        <p14:creationId xmlns:p14="http://schemas.microsoft.com/office/powerpoint/2010/main" val="845364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tx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D0D53E-F5DB-1E44-9D07-A5133474B211}"/>
              </a:ext>
            </a:extLst>
          </p:cNvPr>
          <p:cNvSpPr/>
          <p:nvPr userDrawn="1"/>
        </p:nvSpPr>
        <p:spPr>
          <a:xfrm>
            <a:off x="0" y="0"/>
            <a:ext cx="12192000" cy="6172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ctrTitle"/>
          </p:nvPr>
        </p:nvSpPr>
        <p:spPr>
          <a:xfrm>
            <a:off x="1219201" y="2125980"/>
            <a:ext cx="4343401" cy="1107996"/>
          </a:xfrm>
          <a:prstGeom prst="rect">
            <a:avLst/>
          </a:prstGeom>
        </p:spPr>
        <p:txBody>
          <a:bodyPr wrap="square" lIns="0" tIns="0" rIns="0" bIns="0">
            <a:spAutoFit/>
          </a:bodyPr>
          <a:lstStyle>
            <a:lvl1pPr algn="r">
              <a:defRPr>
                <a:solidFill>
                  <a:schemeClr val="tx2"/>
                </a:solidFill>
              </a:defRPr>
            </a:lvl1pPr>
          </a:lstStyle>
          <a:p>
            <a:r>
              <a:rPr lang="en-US"/>
              <a:t>Click to edit Master title style</a:t>
            </a:r>
            <a:endParaRPr/>
          </a:p>
        </p:txBody>
      </p:sp>
      <p:sp>
        <p:nvSpPr>
          <p:cNvPr id="3" name="Holder 3"/>
          <p:cNvSpPr>
            <a:spLocks noGrp="1"/>
          </p:cNvSpPr>
          <p:nvPr>
            <p:ph type="subTitle" idx="4"/>
          </p:nvPr>
        </p:nvSpPr>
        <p:spPr>
          <a:xfrm>
            <a:off x="2286000" y="3066621"/>
            <a:ext cx="3275648" cy="553998"/>
          </a:xfrm>
          <a:prstGeom prst="rect">
            <a:avLst/>
          </a:prstGeom>
        </p:spPr>
        <p:txBody>
          <a:bodyPr wrap="square" lIns="0" tIns="0" rIns="0" bIns="0">
            <a:spAutoFit/>
          </a:bodyPr>
          <a:lstStyle>
            <a:lvl1pPr algn="r">
              <a:defRPr>
                <a:solidFill>
                  <a:schemeClr val="tx2"/>
                </a:solidFill>
              </a:defRPr>
            </a:lvl1pPr>
          </a:lstStyle>
          <a:p>
            <a:r>
              <a:rPr lang="en-US"/>
              <a:t>Click to edit Master subtitle style</a:t>
            </a:r>
            <a:endParaRPr/>
          </a:p>
        </p:txBody>
      </p:sp>
      <p:sp>
        <p:nvSpPr>
          <p:cNvPr id="12" name="Text Placeholder 13">
            <a:extLst>
              <a:ext uri="{FF2B5EF4-FFF2-40B4-BE49-F238E27FC236}">
                <a16:creationId xmlns:a16="http://schemas.microsoft.com/office/drawing/2014/main" id="{0D105005-9B18-8E41-8D5C-AE863881CC1D}"/>
              </a:ext>
            </a:extLst>
          </p:cNvPr>
          <p:cNvSpPr>
            <a:spLocks noGrp="1"/>
          </p:cNvSpPr>
          <p:nvPr>
            <p:ph type="body" sz="quarter" idx="11"/>
          </p:nvPr>
        </p:nvSpPr>
        <p:spPr>
          <a:xfrm>
            <a:off x="6629400" y="2125981"/>
            <a:ext cx="4724400" cy="1384995"/>
          </a:xfrm>
        </p:spPr>
        <p:txBody>
          <a:bodyPr/>
          <a:lstStyle>
            <a:lvl1pPr>
              <a:lnSpc>
                <a:spcPct val="100000"/>
              </a:lnSpc>
              <a:defRPr sz="1800" b="0">
                <a:solidFill>
                  <a:schemeClr val="tx2"/>
                </a:solidFill>
              </a:defRPr>
            </a:lvl1pPr>
            <a:lvl2pPr>
              <a:lnSpc>
                <a:spcPct val="100000"/>
              </a:lnSpc>
              <a:defRPr sz="1800" b="0">
                <a:solidFill>
                  <a:schemeClr val="tx2"/>
                </a:solidFill>
              </a:defRPr>
            </a:lvl2pPr>
            <a:lvl3pPr>
              <a:lnSpc>
                <a:spcPct val="100000"/>
              </a:lnSpc>
              <a:defRPr sz="1800" b="0">
                <a:solidFill>
                  <a:schemeClr val="tx2"/>
                </a:solidFill>
              </a:defRPr>
            </a:lvl3pPr>
            <a:lvl4pPr>
              <a:lnSpc>
                <a:spcPct val="100000"/>
              </a:lnSpc>
              <a:defRPr sz="1800" b="0">
                <a:solidFill>
                  <a:schemeClr val="tx2"/>
                </a:solidFill>
              </a:defRPr>
            </a:lvl4pPr>
            <a:lvl5pPr>
              <a:lnSpc>
                <a:spcPct val="100000"/>
              </a:lnSpc>
              <a:defRPr sz="18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a:extLst>
              <a:ext uri="{FF2B5EF4-FFF2-40B4-BE49-F238E27FC236}">
                <a16:creationId xmlns:a16="http://schemas.microsoft.com/office/drawing/2014/main" id="{E0883970-65FE-0641-BA7C-88949FF0E908}"/>
              </a:ext>
            </a:extLst>
          </p:cNvPr>
          <p:cNvCxnSpPr>
            <a:cxnSpLocks/>
          </p:cNvCxnSpPr>
          <p:nvPr userDrawn="1"/>
        </p:nvCxnSpPr>
        <p:spPr>
          <a:xfrm flipV="1">
            <a:off x="6096000" y="1447800"/>
            <a:ext cx="0" cy="3581400"/>
          </a:xfrm>
          <a:prstGeom prst="line">
            <a:avLst/>
          </a:prstGeom>
          <a:ln w="1905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3596600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n-GB" noProof="0"/>
              <a:t>Insert Title Here</a:t>
            </a:r>
            <a:br>
              <a:rPr lang="en-GB" noProof="0"/>
            </a:br>
            <a:r>
              <a:rPr lang="en-GB" noProof="0"/>
              <a:t>Max 2 lines</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Tree>
    <p:extLst>
      <p:ext uri="{BB962C8B-B14F-4D97-AF65-F5344CB8AC3E}">
        <p14:creationId xmlns:p14="http://schemas.microsoft.com/office/powerpoint/2010/main" val="36774517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5_Team_2">
    <p:bg>
      <p:bgPr>
        <a:solidFill>
          <a:schemeClr val="bg1"/>
        </a:solidFill>
        <a:effectLst/>
      </p:bgPr>
    </p:bg>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7BF74AC2-6052-DE44-A2F8-685D64C198B3}"/>
              </a:ext>
            </a:extLst>
          </p:cNvPr>
          <p:cNvSpPr/>
          <p:nvPr userDrawn="1"/>
        </p:nvSpPr>
        <p:spPr>
          <a:xfrm>
            <a:off x="6953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n-GB" noProof="0"/>
              <a:t>Insert Title Here</a:t>
            </a:r>
            <a:br>
              <a:rPr lang="en-GB" noProof="0"/>
            </a:br>
            <a:r>
              <a:rPr lang="en-GB" noProof="0"/>
              <a:t>Max 2 lines</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6984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n-GB" noProof="0"/>
              <a:t>Job Title</a:t>
            </a:r>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tx2"/>
                </a:solidFill>
              </a:defRPr>
            </a:lvl1pPr>
          </a:lstStyle>
          <a:p>
            <a:pPr lvl="0"/>
            <a:r>
              <a:rPr lang="en-GB" noProof="0"/>
              <a:t>Name</a:t>
            </a:r>
            <a:br>
              <a:rPr lang="en-GB" noProof="0"/>
            </a:br>
            <a:r>
              <a:rPr lang="en-GB" noProof="0"/>
              <a:t>Surname</a:t>
            </a:r>
          </a:p>
        </p:txBody>
      </p:sp>
      <p:sp>
        <p:nvSpPr>
          <p:cNvPr id="28" name="Rectángulo 27">
            <a:extLst>
              <a:ext uri="{FF2B5EF4-FFF2-40B4-BE49-F238E27FC236}">
                <a16:creationId xmlns:a16="http://schemas.microsoft.com/office/drawing/2014/main" id="{72FAA048-4B5D-4E46-AC16-7452B6E31003}"/>
              </a:ext>
            </a:extLst>
          </p:cNvPr>
          <p:cNvSpPr/>
          <p:nvPr userDrawn="1"/>
        </p:nvSpPr>
        <p:spPr>
          <a:xfrm>
            <a:off x="35782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0" name="Marcador de posición de imagen 16">
            <a:extLst>
              <a:ext uri="{FF2B5EF4-FFF2-40B4-BE49-F238E27FC236}">
                <a16:creationId xmlns:a16="http://schemas.microsoft.com/office/drawing/2014/main" id="{7738A7D9-3E3A-9B40-A1C7-8018C92133DF}"/>
              </a:ext>
            </a:extLst>
          </p:cNvPr>
          <p:cNvSpPr>
            <a:spLocks noGrp="1"/>
          </p:cNvSpPr>
          <p:nvPr>
            <p:ph type="pic" sz="quarter" idx="27" hasCustomPrompt="1"/>
          </p:nvPr>
        </p:nvSpPr>
        <p:spPr>
          <a:xfrm>
            <a:off x="35813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31" name="Rectángulo 30">
            <a:extLst>
              <a:ext uri="{FF2B5EF4-FFF2-40B4-BE49-F238E27FC236}">
                <a16:creationId xmlns:a16="http://schemas.microsoft.com/office/drawing/2014/main" id="{D2301D21-EF7B-7C46-A309-9161F0D613A6}"/>
              </a:ext>
            </a:extLst>
          </p:cNvPr>
          <p:cNvSpPr/>
          <p:nvPr userDrawn="1"/>
        </p:nvSpPr>
        <p:spPr>
          <a:xfrm>
            <a:off x="64611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2" name="Marcador de posición de imagen 16">
            <a:extLst>
              <a:ext uri="{FF2B5EF4-FFF2-40B4-BE49-F238E27FC236}">
                <a16:creationId xmlns:a16="http://schemas.microsoft.com/office/drawing/2014/main" id="{8BDA6A37-0168-9148-B73A-E2361E04F379}"/>
              </a:ext>
            </a:extLst>
          </p:cNvPr>
          <p:cNvSpPr>
            <a:spLocks noGrp="1"/>
          </p:cNvSpPr>
          <p:nvPr>
            <p:ph type="pic" sz="quarter" idx="28" hasCustomPrompt="1"/>
          </p:nvPr>
        </p:nvSpPr>
        <p:spPr>
          <a:xfrm>
            <a:off x="64642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33" name="Rectángulo 32">
            <a:extLst>
              <a:ext uri="{FF2B5EF4-FFF2-40B4-BE49-F238E27FC236}">
                <a16:creationId xmlns:a16="http://schemas.microsoft.com/office/drawing/2014/main" id="{006BD6CA-9D28-324D-8CAC-1A48D712C4C0}"/>
              </a:ext>
            </a:extLst>
          </p:cNvPr>
          <p:cNvSpPr/>
          <p:nvPr userDrawn="1"/>
        </p:nvSpPr>
        <p:spPr>
          <a:xfrm>
            <a:off x="933767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Marcador de posición de imagen 16">
            <a:extLst>
              <a:ext uri="{FF2B5EF4-FFF2-40B4-BE49-F238E27FC236}">
                <a16:creationId xmlns:a16="http://schemas.microsoft.com/office/drawing/2014/main" id="{BED1A7FE-CD5F-FB4C-A982-6E2C839CD34F}"/>
              </a:ext>
            </a:extLst>
          </p:cNvPr>
          <p:cNvSpPr>
            <a:spLocks noGrp="1"/>
          </p:cNvSpPr>
          <p:nvPr>
            <p:ph type="pic" sz="quarter" idx="29" hasCustomPrompt="1"/>
          </p:nvPr>
        </p:nvSpPr>
        <p:spPr>
          <a:xfrm>
            <a:off x="934084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Tree>
    <p:extLst>
      <p:ext uri="{BB962C8B-B14F-4D97-AF65-F5344CB8AC3E}">
        <p14:creationId xmlns:p14="http://schemas.microsoft.com/office/powerpoint/2010/main" val="30208514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n-GB" noProof="0"/>
              <a:t>Insert Title Here</a:t>
            </a:r>
            <a:br>
              <a:rPr lang="en-GB" noProof="0"/>
            </a:br>
            <a:r>
              <a:rPr lang="en-GB" noProof="0"/>
              <a:t>Max 2 lines</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671"/>
            <a:ext cx="2160588" cy="497906"/>
          </a:xfrm>
        </p:spPr>
        <p:txBody>
          <a:bodyPr wrap="square">
            <a:noAutofit/>
          </a:bodyPr>
          <a:lstStyle>
            <a:lvl1pPr marL="0" indent="0" algn="ctr">
              <a:buNone/>
              <a:defRPr>
                <a:solidFill>
                  <a:schemeClr val="bg2"/>
                </a:solidFill>
              </a:defRPr>
            </a:lvl1pPr>
          </a:lstStyle>
          <a:p>
            <a:pPr lvl="0"/>
            <a:r>
              <a:rPr lang="en-GB" noProof="0"/>
              <a:t>Job Titl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solidFill>
                  <a:schemeClr val="bg1"/>
                </a:solidFill>
              </a:defRPr>
            </a:lvl1pPr>
          </a:lstStyle>
          <a:p>
            <a:pPr lvl="0"/>
            <a:r>
              <a:rPr lang="en-GB" noProof="0"/>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bg1"/>
                </a:solidFill>
              </a:defRPr>
            </a:lvl1pPr>
          </a:lstStyle>
          <a:p>
            <a:pPr lvl="0"/>
            <a:r>
              <a:rPr lang="en-GB" noProof="0"/>
              <a:t>Name</a:t>
            </a:r>
            <a:br>
              <a:rPr lang="en-GB" noProof="0"/>
            </a:br>
            <a:r>
              <a:rPr lang="en-GB" noProof="0"/>
              <a:t>Surname</a:t>
            </a:r>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n-GB" noProof="0"/>
              <a:t>Insert image</a:t>
            </a:r>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671"/>
            <a:ext cx="2160588" cy="497906"/>
          </a:xfrm>
        </p:spPr>
        <p:txBody>
          <a:bodyPr wrap="square">
            <a:noAutofit/>
          </a:bodyPr>
          <a:lstStyle>
            <a:lvl1pPr marL="0" indent="0" algn="ctr">
              <a:buNone/>
              <a:defRPr>
                <a:solidFill>
                  <a:schemeClr val="bg2"/>
                </a:solidFill>
              </a:defRPr>
            </a:lvl1pPr>
          </a:lstStyle>
          <a:p>
            <a:pPr lvl="0"/>
            <a:r>
              <a:rPr lang="en-GB" noProof="0"/>
              <a:t>Job Title</a:t>
            </a:r>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bg1"/>
                </a:solidFill>
              </a:defRPr>
            </a:lvl1pPr>
          </a:lstStyle>
          <a:p>
            <a:pPr lvl="0"/>
            <a:r>
              <a:rPr lang="en-GB" noProof="0"/>
              <a:t>Name</a:t>
            </a:r>
            <a:br>
              <a:rPr lang="en-GB" noProof="0"/>
            </a:br>
            <a:r>
              <a:rPr lang="en-GB" noProof="0"/>
              <a:t>Su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671"/>
            <a:ext cx="2160588" cy="497906"/>
          </a:xfrm>
        </p:spPr>
        <p:txBody>
          <a:bodyPr wrap="square">
            <a:noAutofit/>
          </a:bodyPr>
          <a:lstStyle>
            <a:lvl1pPr marL="0" indent="0" algn="ctr">
              <a:buNone/>
              <a:defRPr>
                <a:solidFill>
                  <a:schemeClr val="bg2"/>
                </a:solidFill>
              </a:defRPr>
            </a:lvl1pPr>
          </a:lstStyle>
          <a:p>
            <a:pPr lvl="0"/>
            <a:r>
              <a:rPr lang="en-GB" noProof="0"/>
              <a:t>Job Title</a:t>
            </a:r>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bg1"/>
                </a:solidFill>
              </a:defRPr>
            </a:lvl1pPr>
          </a:lstStyle>
          <a:p>
            <a:pPr lvl="0"/>
            <a:r>
              <a:rPr lang="en-GB" noProof="0"/>
              <a:t>Name</a:t>
            </a:r>
            <a:br>
              <a:rPr lang="en-GB" noProof="0"/>
            </a:br>
            <a:r>
              <a:rPr lang="en-GB" noProof="0"/>
              <a:t>Su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671"/>
            <a:ext cx="2160588" cy="497906"/>
          </a:xfrm>
        </p:spPr>
        <p:txBody>
          <a:bodyPr wrap="square">
            <a:noAutofit/>
          </a:bodyPr>
          <a:lstStyle>
            <a:lvl1pPr marL="0" indent="0" algn="ctr">
              <a:buNone/>
              <a:defRPr>
                <a:solidFill>
                  <a:schemeClr val="bg2"/>
                </a:solidFill>
              </a:defRPr>
            </a:lvl1pPr>
          </a:lstStyle>
          <a:p>
            <a:pPr lvl="0"/>
            <a:r>
              <a:rPr lang="en-GB" noProof="0"/>
              <a:t>Job Title</a:t>
            </a:r>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bg1"/>
                </a:solidFill>
              </a:defRPr>
            </a:lvl1pPr>
          </a:lstStyle>
          <a:p>
            <a:pPr lvl="0"/>
            <a:r>
              <a:rPr lang="en-GB" noProof="0"/>
              <a:t>Name</a:t>
            </a:r>
            <a:br>
              <a:rPr lang="en-GB" noProof="0"/>
            </a:br>
            <a:r>
              <a:rPr lang="en-GB" noProof="0"/>
              <a:t>Surname</a:t>
            </a:r>
          </a:p>
        </p:txBody>
      </p:sp>
      <p:pic>
        <p:nvPicPr>
          <p:cNvPr id="18" name="Imagen 17" descr="Interfaz de usuario gráfica, Aplicación&#10;&#10;Descripción generada automáticamente">
            <a:extLst>
              <a:ext uri="{FF2B5EF4-FFF2-40B4-BE49-F238E27FC236}">
                <a16:creationId xmlns:a16="http://schemas.microsoft.com/office/drawing/2014/main" id="{16842171-3385-4AB3-BAFC-2D61E5892C9E}"/>
              </a:ext>
            </a:extLst>
          </p:cNvPr>
          <p:cNvPicPr>
            <a:picLocks noChangeAspect="1"/>
          </p:cNvPicPr>
          <p:nvPr userDrawn="1"/>
        </p:nvPicPr>
        <p:blipFill rotWithShape="1">
          <a:blip r:embed="rId2"/>
          <a:srcRect l="26831" t="41071" r="27490" b="41071"/>
          <a:stretch/>
        </p:blipFill>
        <p:spPr>
          <a:xfrm>
            <a:off x="484166" y="6408478"/>
            <a:ext cx="1049665" cy="230928"/>
          </a:xfrm>
          <a:prstGeom prst="rect">
            <a:avLst/>
          </a:prstGeom>
        </p:spPr>
      </p:pic>
    </p:spTree>
    <p:extLst>
      <p:ext uri="{BB962C8B-B14F-4D97-AF65-F5344CB8AC3E}">
        <p14:creationId xmlns:p14="http://schemas.microsoft.com/office/powerpoint/2010/main" val="12444344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n-GB" noProof="0"/>
              <a:t>Insert Title Here</a:t>
            </a:r>
            <a:br>
              <a:rPr lang="en-GB" noProof="0"/>
            </a:br>
            <a:r>
              <a:rPr lang="en-GB" noProof="0"/>
              <a:t>Max 2 lines</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n-GB" noProof="0"/>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lvl1pPr>
              <a:defRPr/>
            </a:lvl1pPr>
          </a:lstStyle>
          <a:p>
            <a:pPr lvl="0"/>
            <a:r>
              <a:rPr lang="en-GB" noProof="0"/>
              <a:t>Object</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n-GB" noProof="0"/>
              <a:t>Lorem ipsumm dolor sit amet, consectetur adipiscing elit. Aliquam euismod cursus ipsum. </a:t>
            </a:r>
          </a:p>
        </p:txBody>
      </p:sp>
    </p:spTree>
    <p:extLst>
      <p:ext uri="{BB962C8B-B14F-4D97-AF65-F5344CB8AC3E}">
        <p14:creationId xmlns:p14="http://schemas.microsoft.com/office/powerpoint/2010/main" val="25409588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8_Interior">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3B45862-9E43-9940-8549-F0AC9E09F87A}"/>
              </a:ext>
            </a:extLst>
          </p:cNvPr>
          <p:cNvSpPr/>
          <p:nvPr userDrawn="1"/>
        </p:nvSpPr>
        <p:spPr>
          <a:xfrm>
            <a:off x="0" y="2994668"/>
            <a:ext cx="12192000" cy="3863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n-GB" noProof="0"/>
              <a:t>Insert Title Here</a:t>
            </a:r>
            <a:br>
              <a:rPr lang="en-GB" noProof="0"/>
            </a:br>
            <a:r>
              <a:rPr lang="en-GB" noProof="0"/>
              <a:t>Max 2 lines</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n-GB" noProof="0"/>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lvl1pPr>
              <a:defRPr/>
            </a:lvl1pPr>
          </a:lstStyle>
          <a:p>
            <a:pPr lvl="0"/>
            <a:r>
              <a:rPr lang="en-GB" noProof="0"/>
              <a:t>Object</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n-GB" noProof="0"/>
              <a:t>Lorem ipsumm dolor sit amet, consectetur adipiscing elit. Aliquam euismod cursus ipsum. </a:t>
            </a:r>
          </a:p>
        </p:txBody>
      </p:sp>
    </p:spTree>
    <p:extLst>
      <p:ext uri="{BB962C8B-B14F-4D97-AF65-F5344CB8AC3E}">
        <p14:creationId xmlns:p14="http://schemas.microsoft.com/office/powerpoint/2010/main" val="1901575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n-GB" noProof="0"/>
              <a:t>Insert Title Here</a:t>
            </a:r>
            <a:br>
              <a:rPr lang="en-GB" noProof="0"/>
            </a:br>
            <a:r>
              <a:rPr lang="en-GB" noProof="0"/>
              <a:t>Max 2 lines</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p:spPr>
        <p:txBody>
          <a:bodyPr>
            <a:noAutofit/>
          </a:bodyPr>
          <a:lstStyle>
            <a:lvl1pPr marL="0" indent="0">
              <a:buNone/>
              <a:defRPr sz="1300" b="1" cap="all" baseline="0"/>
            </a:lvl1pPr>
          </a:lstStyle>
          <a:p>
            <a:pPr lvl="0"/>
            <a:r>
              <a:rPr lang="en-GB" noProof="0"/>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p:spPr>
        <p:txBody>
          <a:bodyPr/>
          <a:lstStyle>
            <a:lvl1pPr>
              <a:defRPr/>
            </a:lvl1pPr>
          </a:lstStyle>
          <a:p>
            <a:pPr lvl="0"/>
            <a:r>
              <a:rPr lang="en-GB" noProof="0"/>
              <a:t>Object</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p:spPr>
        <p:txBody>
          <a:bodyPr/>
          <a:lstStyle/>
          <a:p>
            <a:pPr lvl="0"/>
            <a:r>
              <a:rPr lang="en-GB" noProof="0"/>
              <a:t>Object</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p:spPr>
        <p:txBody>
          <a:bodyPr/>
          <a:lstStyle/>
          <a:p>
            <a:pPr lvl="0"/>
            <a:r>
              <a:rPr lang="en-GB" noProof="0"/>
              <a:t>Object</a:t>
            </a:r>
          </a:p>
        </p:txBody>
      </p:sp>
    </p:spTree>
    <p:extLst>
      <p:ext uri="{BB962C8B-B14F-4D97-AF65-F5344CB8AC3E}">
        <p14:creationId xmlns:p14="http://schemas.microsoft.com/office/powerpoint/2010/main" val="38502182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n-GB" noProof="0"/>
              <a:t>Insert Title Here</a:t>
            </a:r>
            <a:br>
              <a:rPr lang="en-GB" noProof="0"/>
            </a:br>
            <a:r>
              <a:rPr lang="en-GB" noProof="0"/>
              <a:t>Max 2 lines</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p:spPr>
        <p:txBody>
          <a:bodyPr>
            <a:noAutofit/>
          </a:bodyPr>
          <a:lstStyle>
            <a:lvl1pPr marL="0" indent="0">
              <a:buNone/>
              <a:defRPr sz="1300" b="1" cap="all" baseline="0"/>
            </a:lvl1pPr>
          </a:lstStyle>
          <a:p>
            <a:pPr lvl="0"/>
            <a:r>
              <a:rPr lang="en-GB" noProof="0"/>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p:spPr>
        <p:txBody>
          <a:bodyPr/>
          <a:lstStyle/>
          <a:p>
            <a:pPr lvl="0"/>
            <a:r>
              <a:rPr lang="en-GB" noProof="0"/>
              <a:t>Object</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p:spPr>
        <p:txBody>
          <a:bodyPr/>
          <a:lstStyle>
            <a:lvl1pPr marL="0" indent="0">
              <a:buNone/>
              <a:defRPr b="1">
                <a:solidFill>
                  <a:schemeClr val="tx1"/>
                </a:solidFill>
              </a:defRPr>
            </a:lvl1pPr>
          </a:lstStyle>
          <a:p>
            <a:pPr lvl="0"/>
            <a:r>
              <a:rPr lang="en-GB" noProof="0"/>
              <a:t>Body subhead (second level tex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 Aliquam euismod cursus ipsum. Hasellus erat metus, faucibus quis interdum id, viverra nec enim:</a:t>
            </a:r>
          </a:p>
          <a:p>
            <a:pPr lvl="0"/>
            <a:r>
              <a:rPr lang="en-GB" noProof="0"/>
              <a:t>        • Insert text here</a:t>
            </a:r>
            <a:br>
              <a:rPr lang="en-GB" noProof="0"/>
            </a:br>
            <a:r>
              <a:rPr lang="en-GB" noProof="0"/>
              <a:t>                 • Insert text here</a:t>
            </a:r>
            <a:br>
              <a:rPr lang="en-GB" noProof="0"/>
            </a:br>
            <a:r>
              <a:rPr lang="en-GB" noProof="0"/>
              <a:t>	</a:t>
            </a:r>
          </a:p>
        </p:txBody>
      </p:sp>
    </p:spTree>
    <p:extLst>
      <p:ext uri="{BB962C8B-B14F-4D97-AF65-F5344CB8AC3E}">
        <p14:creationId xmlns:p14="http://schemas.microsoft.com/office/powerpoint/2010/main" val="16637304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1549" cy="796466"/>
          </a:xfrm>
        </p:spPr>
        <p:txBody>
          <a:bodyPr/>
          <a:lstStyle/>
          <a:p>
            <a:r>
              <a:rPr lang="en-GB" noProof="0"/>
              <a:t>Insert Title Here</a:t>
            </a:r>
            <a:br>
              <a:rPr lang="en-GB" noProof="0"/>
            </a:br>
            <a:r>
              <a:rPr lang="en-GB" noProof="0"/>
              <a:t>Max 2 lines</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p:spPr>
        <p:txBody>
          <a:bodyPr/>
          <a:lstStyle/>
          <a:p>
            <a:pPr lvl="0"/>
            <a:r>
              <a:rPr lang="en-GB" noProof="0"/>
              <a:t>Object</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p:spPr>
        <p:txBody>
          <a:bodyPr/>
          <a:lstStyle>
            <a:lvl1pPr marL="0" indent="0">
              <a:buNone/>
              <a:defRPr b="1">
                <a:solidFill>
                  <a:schemeClr val="tx1"/>
                </a:solidFill>
              </a:defRPr>
            </a:lvl1pPr>
          </a:lstStyle>
          <a:p>
            <a:pPr lvl="0"/>
            <a:r>
              <a:rPr lang="en-GB" noProof="0"/>
              <a:t>Body subhead (second level tex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p:spPr>
        <p:txBody>
          <a:bodyPr/>
          <a:lstStyle>
            <a:lvl1pPr marL="0" indent="0">
              <a:buNone/>
              <a:defRPr>
                <a:solidFill>
                  <a:schemeClr val="tx1">
                    <a:lumMod val="60000"/>
                    <a:lumOff val="40000"/>
                  </a:schemeClr>
                </a:solidFill>
              </a:defRPr>
            </a:lvl1pPr>
          </a:lstStyle>
          <a:p>
            <a:pPr lvl="0"/>
            <a:r>
              <a:rPr lang="en-GB" noProof="0"/>
              <a:t>Lorem ipsum dolor sit amet, consectetur adipiscing elit. Aliquam euismod cursus ipsum. Hasellus erat metus, faucibus quis interdum id, viverra nec enim:</a:t>
            </a:r>
          </a:p>
          <a:p>
            <a:pPr lvl="0"/>
            <a:r>
              <a:rPr lang="en-GB" noProof="0"/>
              <a:t>        • Insert text here</a:t>
            </a:r>
            <a:br>
              <a:rPr lang="en-GB" noProof="0"/>
            </a:br>
            <a:r>
              <a:rPr lang="en-GB" noProof="0"/>
              <a:t>                 • Insert text here</a:t>
            </a:r>
            <a:br>
              <a:rPr lang="en-GB" noProof="0"/>
            </a:br>
            <a:r>
              <a:rPr lang="en-GB" noProof="0"/>
              <a:t>	</a:t>
            </a:r>
          </a:p>
        </p:txBody>
      </p:sp>
      <p:sp>
        <p:nvSpPr>
          <p:cNvPr id="11" name="Marcador de texto 18">
            <a:extLst>
              <a:ext uri="{FF2B5EF4-FFF2-40B4-BE49-F238E27FC236}">
                <a16:creationId xmlns:a16="http://schemas.microsoft.com/office/drawing/2014/main" id="{C96C1A6C-E638-5E4F-9347-FEB4C0A94701}"/>
              </a:ext>
            </a:extLst>
          </p:cNvPr>
          <p:cNvSpPr>
            <a:spLocks noGrp="1"/>
          </p:cNvSpPr>
          <p:nvPr>
            <p:ph type="body" sz="quarter" idx="19" hasCustomPrompt="1"/>
          </p:nvPr>
        </p:nvSpPr>
        <p:spPr>
          <a:xfrm>
            <a:off x="415307" y="366676"/>
            <a:ext cx="3701531" cy="198438"/>
          </a:xfrm>
        </p:spPr>
        <p:txBody>
          <a:bodyPr>
            <a:noAutofit/>
          </a:bodyPr>
          <a:lstStyle>
            <a:lvl1pPr marL="0" indent="0">
              <a:buNone/>
              <a:defRPr sz="1300" b="1" cap="all" baseline="0"/>
            </a:lvl1pPr>
          </a:lstStyle>
          <a:p>
            <a:pPr lvl="0"/>
            <a:r>
              <a:rPr lang="en-GB" noProof="0"/>
              <a:t>INSERT SUBHEADING</a:t>
            </a:r>
          </a:p>
        </p:txBody>
      </p:sp>
    </p:spTree>
    <p:extLst>
      <p:ext uri="{BB962C8B-B14F-4D97-AF65-F5344CB8AC3E}">
        <p14:creationId xmlns:p14="http://schemas.microsoft.com/office/powerpoint/2010/main" val="42733780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001 Title">
  <p:cSld name="001 Title">
    <p:spTree>
      <p:nvGrpSpPr>
        <p:cNvPr id="1" name="Shape 10"/>
        <p:cNvGrpSpPr/>
        <p:nvPr/>
      </p:nvGrpSpPr>
      <p:grpSpPr>
        <a:xfrm>
          <a:off x="0" y="0"/>
          <a:ext cx="0" cy="0"/>
          <a:chOff x="0" y="0"/>
          <a:chExt cx="0" cy="0"/>
        </a:xfrm>
      </p:grpSpPr>
      <p:pic>
        <p:nvPicPr>
          <p:cNvPr id="11" name="Google Shape;11;p2"/>
          <p:cNvPicPr preferRelativeResize="0"/>
          <p:nvPr/>
        </p:nvPicPr>
        <p:blipFill rotWithShape="1">
          <a:blip r:embed="rId2">
            <a:alphaModFix/>
          </a:blip>
          <a:srcRect l="432" t="-253" r="39463" b="78402"/>
          <a:stretch/>
        </p:blipFill>
        <p:spPr>
          <a:xfrm>
            <a:off x="0" y="209550"/>
            <a:ext cx="12192005" cy="6648454"/>
          </a:xfrm>
          <a:prstGeom prst="rect">
            <a:avLst/>
          </a:prstGeom>
          <a:noFill/>
          <a:ln>
            <a:noFill/>
          </a:ln>
        </p:spPr>
      </p:pic>
      <p:sp>
        <p:nvSpPr>
          <p:cNvPr id="12" name="Google Shape;12;p2"/>
          <p:cNvSpPr txBox="1">
            <a:spLocks noGrp="1"/>
          </p:cNvSpPr>
          <p:nvPr>
            <p:ph type="title"/>
          </p:nvPr>
        </p:nvSpPr>
        <p:spPr>
          <a:xfrm>
            <a:off x="568000" y="1431575"/>
            <a:ext cx="5066700" cy="1230600"/>
          </a:xfrm>
          <a:prstGeom prst="rect">
            <a:avLst/>
          </a:prstGeom>
        </p:spPr>
        <p:txBody>
          <a:bodyPr spcFirstLastPara="1" wrap="square" lIns="121900" tIns="121900" rIns="121900" bIns="121900" anchor="t" anchorCtr="0">
            <a:noAutofit/>
          </a:bodyPr>
          <a:lstStyle>
            <a:lvl1pPr lvl="0">
              <a:spcBef>
                <a:spcPts val="0"/>
              </a:spcBef>
              <a:spcAft>
                <a:spcPts val="0"/>
              </a:spcAft>
              <a:buSzPts val="9000"/>
              <a:buNone/>
              <a:defRPr sz="9000"/>
            </a:lvl1pPr>
            <a:lvl2pPr lvl="1" algn="ctr">
              <a:spcBef>
                <a:spcPts val="0"/>
              </a:spcBef>
              <a:spcAft>
                <a:spcPts val="0"/>
              </a:spcAft>
              <a:buSzPts val="7000"/>
              <a:buNone/>
              <a:defRPr sz="7000"/>
            </a:lvl2pPr>
            <a:lvl3pPr lvl="2" algn="ctr">
              <a:spcBef>
                <a:spcPts val="0"/>
              </a:spcBef>
              <a:spcAft>
                <a:spcPts val="0"/>
              </a:spcAft>
              <a:buSzPts val="7000"/>
              <a:buNone/>
              <a:defRPr sz="7000"/>
            </a:lvl3pPr>
            <a:lvl4pPr lvl="3" algn="ctr">
              <a:spcBef>
                <a:spcPts val="0"/>
              </a:spcBef>
              <a:spcAft>
                <a:spcPts val="0"/>
              </a:spcAft>
              <a:buSzPts val="7000"/>
              <a:buNone/>
              <a:defRPr sz="7000"/>
            </a:lvl4pPr>
            <a:lvl5pPr lvl="4" algn="ctr">
              <a:spcBef>
                <a:spcPts val="0"/>
              </a:spcBef>
              <a:spcAft>
                <a:spcPts val="0"/>
              </a:spcAft>
              <a:buSzPts val="7000"/>
              <a:buNone/>
              <a:defRPr sz="7000"/>
            </a:lvl5pPr>
            <a:lvl6pPr lvl="5" algn="ctr">
              <a:spcBef>
                <a:spcPts val="0"/>
              </a:spcBef>
              <a:spcAft>
                <a:spcPts val="0"/>
              </a:spcAft>
              <a:buSzPts val="7000"/>
              <a:buNone/>
              <a:defRPr sz="7000"/>
            </a:lvl6pPr>
            <a:lvl7pPr lvl="6" algn="ctr">
              <a:spcBef>
                <a:spcPts val="0"/>
              </a:spcBef>
              <a:spcAft>
                <a:spcPts val="0"/>
              </a:spcAft>
              <a:buSzPts val="7000"/>
              <a:buNone/>
              <a:defRPr sz="7000"/>
            </a:lvl7pPr>
            <a:lvl8pPr lvl="7" algn="ctr">
              <a:spcBef>
                <a:spcPts val="0"/>
              </a:spcBef>
              <a:spcAft>
                <a:spcPts val="0"/>
              </a:spcAft>
              <a:buSzPts val="7000"/>
              <a:buNone/>
              <a:defRPr sz="7000"/>
            </a:lvl8pPr>
            <a:lvl9pPr lvl="8" algn="ctr">
              <a:spcBef>
                <a:spcPts val="0"/>
              </a:spcBef>
              <a:spcAft>
                <a:spcPts val="0"/>
              </a:spcAft>
              <a:buSzPts val="7000"/>
              <a:buNone/>
              <a:defRPr sz="7000"/>
            </a:lvl9pPr>
          </a:lstStyle>
          <a:p>
            <a:endParaRPr/>
          </a:p>
        </p:txBody>
      </p:sp>
      <p:sp>
        <p:nvSpPr>
          <p:cNvPr id="13" name="Google Shape;13;p2"/>
          <p:cNvSpPr txBox="1">
            <a:spLocks noGrp="1"/>
          </p:cNvSpPr>
          <p:nvPr>
            <p:ph type="subTitle" idx="1"/>
          </p:nvPr>
        </p:nvSpPr>
        <p:spPr>
          <a:xfrm>
            <a:off x="432800" y="5715300"/>
            <a:ext cx="11379900" cy="717900"/>
          </a:xfrm>
          <a:prstGeom prst="rect">
            <a:avLst/>
          </a:prstGeom>
        </p:spPr>
        <p:txBody>
          <a:bodyPr spcFirstLastPara="1" wrap="square" lIns="121900" tIns="121900" rIns="121900" bIns="121900" anchor="t" anchorCtr="0">
            <a:noAutofit/>
          </a:bodyPr>
          <a:lstStyle>
            <a:lvl1pPr lvl="0">
              <a:spcBef>
                <a:spcPts val="0"/>
              </a:spcBef>
              <a:spcAft>
                <a:spcPts val="0"/>
              </a:spcAft>
              <a:buClr>
                <a:schemeClr val="lt1"/>
              </a:buClr>
              <a:buSzPts val="2200"/>
              <a:buNone/>
              <a:defRPr>
                <a:solidFill>
                  <a:schemeClr val="lt1"/>
                </a:solidFill>
              </a:defRPr>
            </a:lvl1pPr>
            <a:lvl2pPr lvl="1">
              <a:spcBef>
                <a:spcPts val="2100"/>
              </a:spcBef>
              <a:spcAft>
                <a:spcPts val="0"/>
              </a:spcAft>
              <a:buClr>
                <a:schemeClr val="lt1"/>
              </a:buClr>
              <a:buSzPts val="2200"/>
              <a:buNone/>
              <a:defRPr>
                <a:solidFill>
                  <a:schemeClr val="lt1"/>
                </a:solidFill>
              </a:defRPr>
            </a:lvl2pPr>
            <a:lvl3pPr lvl="2">
              <a:spcBef>
                <a:spcPts val="2100"/>
              </a:spcBef>
              <a:spcAft>
                <a:spcPts val="0"/>
              </a:spcAft>
              <a:buClr>
                <a:schemeClr val="lt1"/>
              </a:buClr>
              <a:buSzPts val="2200"/>
              <a:buNone/>
              <a:defRPr>
                <a:solidFill>
                  <a:schemeClr val="lt1"/>
                </a:solidFill>
              </a:defRPr>
            </a:lvl3pPr>
            <a:lvl4pPr lvl="3">
              <a:spcBef>
                <a:spcPts val="2100"/>
              </a:spcBef>
              <a:spcAft>
                <a:spcPts val="0"/>
              </a:spcAft>
              <a:buClr>
                <a:schemeClr val="lt1"/>
              </a:buClr>
              <a:buSzPts val="2200"/>
              <a:buNone/>
              <a:defRPr>
                <a:solidFill>
                  <a:schemeClr val="lt1"/>
                </a:solidFill>
              </a:defRPr>
            </a:lvl4pPr>
            <a:lvl5pPr lvl="4">
              <a:spcBef>
                <a:spcPts val="2100"/>
              </a:spcBef>
              <a:spcAft>
                <a:spcPts val="0"/>
              </a:spcAft>
              <a:buClr>
                <a:schemeClr val="lt1"/>
              </a:buClr>
              <a:buSzPts val="2200"/>
              <a:buNone/>
              <a:defRPr>
                <a:solidFill>
                  <a:schemeClr val="lt1"/>
                </a:solidFill>
              </a:defRPr>
            </a:lvl5pPr>
            <a:lvl6pPr lvl="5">
              <a:spcBef>
                <a:spcPts val="2100"/>
              </a:spcBef>
              <a:spcAft>
                <a:spcPts val="0"/>
              </a:spcAft>
              <a:buClr>
                <a:schemeClr val="lt1"/>
              </a:buClr>
              <a:buSzPts val="2200"/>
              <a:buNone/>
              <a:defRPr>
                <a:solidFill>
                  <a:schemeClr val="lt1"/>
                </a:solidFill>
              </a:defRPr>
            </a:lvl6pPr>
            <a:lvl7pPr lvl="6">
              <a:spcBef>
                <a:spcPts val="2100"/>
              </a:spcBef>
              <a:spcAft>
                <a:spcPts val="0"/>
              </a:spcAft>
              <a:buClr>
                <a:schemeClr val="lt1"/>
              </a:buClr>
              <a:buSzPts val="2200"/>
              <a:buNone/>
              <a:defRPr>
                <a:solidFill>
                  <a:schemeClr val="lt1"/>
                </a:solidFill>
              </a:defRPr>
            </a:lvl7pPr>
            <a:lvl8pPr lvl="7">
              <a:spcBef>
                <a:spcPts val="2100"/>
              </a:spcBef>
              <a:spcAft>
                <a:spcPts val="0"/>
              </a:spcAft>
              <a:buClr>
                <a:schemeClr val="lt1"/>
              </a:buClr>
              <a:buSzPts val="2200"/>
              <a:buNone/>
              <a:defRPr>
                <a:solidFill>
                  <a:schemeClr val="lt1"/>
                </a:solidFill>
              </a:defRPr>
            </a:lvl8pPr>
            <a:lvl9pPr lvl="8">
              <a:spcBef>
                <a:spcPts val="2100"/>
              </a:spcBef>
              <a:spcAft>
                <a:spcPts val="2100"/>
              </a:spcAft>
              <a:buClr>
                <a:schemeClr val="lt1"/>
              </a:buClr>
              <a:buSzPts val="2200"/>
              <a:buNone/>
              <a:defRPr>
                <a:solidFill>
                  <a:schemeClr val="lt1"/>
                </a:solidFill>
              </a:defRPr>
            </a:lvl9pPr>
          </a:lstStyle>
          <a:p>
            <a:endParaRPr/>
          </a:p>
        </p:txBody>
      </p:sp>
      <p:sp>
        <p:nvSpPr>
          <p:cNvPr id="14" name="Google Shape;14;p2"/>
          <p:cNvSpPr txBox="1"/>
          <p:nvPr/>
        </p:nvSpPr>
        <p:spPr>
          <a:xfrm rot="5400000">
            <a:off x="-679350" y="6198500"/>
            <a:ext cx="1579800" cy="373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rgbClr val="666666"/>
                </a:solidFill>
                <a:latin typeface="Barlow Condensed"/>
                <a:ea typeface="Barlow Condensed"/>
                <a:cs typeface="Barlow Condensed"/>
                <a:sym typeface="Barlow Condensed"/>
              </a:rPr>
              <a:t>SLIDESMANIA.COM</a:t>
            </a:r>
            <a:endParaRPr>
              <a:solidFill>
                <a:srgbClr val="666666"/>
              </a:solidFill>
              <a:latin typeface="Barlow Condensed"/>
              <a:ea typeface="Barlow Condensed"/>
              <a:cs typeface="Barlow Condensed"/>
              <a:sym typeface="Barlow Condensed"/>
            </a:endParaRPr>
          </a:p>
        </p:txBody>
      </p:sp>
    </p:spTree>
    <p:extLst>
      <p:ext uri="{BB962C8B-B14F-4D97-AF65-F5344CB8AC3E}">
        <p14:creationId xmlns:p14="http://schemas.microsoft.com/office/powerpoint/2010/main" val="33687098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Just title">
  <p:cSld name="Just title">
    <p:spTree>
      <p:nvGrpSpPr>
        <p:cNvPr id="1" name="Shape 15"/>
        <p:cNvGrpSpPr/>
        <p:nvPr/>
      </p:nvGrpSpPr>
      <p:grpSpPr>
        <a:xfrm>
          <a:off x="0" y="0"/>
          <a:ext cx="0" cy="0"/>
          <a:chOff x="0" y="0"/>
          <a:chExt cx="0" cy="0"/>
        </a:xfrm>
      </p:grpSpPr>
      <p:sp>
        <p:nvSpPr>
          <p:cNvPr id="16" name="Google Shape;16;p3"/>
          <p:cNvSpPr txBox="1">
            <a:spLocks noGrp="1"/>
          </p:cNvSpPr>
          <p:nvPr>
            <p:ph type="title"/>
          </p:nvPr>
        </p:nvSpPr>
        <p:spPr>
          <a:xfrm>
            <a:off x="415650" y="421105"/>
            <a:ext cx="11360700" cy="1230600"/>
          </a:xfrm>
          <a:prstGeom prst="rect">
            <a:avLst/>
          </a:prstGeom>
        </p:spPr>
        <p:txBody>
          <a:bodyPr spcFirstLastPara="1" wrap="square" lIns="121900" tIns="121900" rIns="121900" bIns="121900" anchor="t" anchorCtr="0">
            <a:noAutofit/>
          </a:bodyPr>
          <a:lstStyle>
            <a:lvl1pPr lvl="0" algn="ctr" rtl="0">
              <a:spcBef>
                <a:spcPts val="0"/>
              </a:spcBef>
              <a:spcAft>
                <a:spcPts val="0"/>
              </a:spcAft>
              <a:buSzPts val="5000"/>
              <a:buNone/>
              <a:defRPr sz="5000"/>
            </a:lvl1pPr>
            <a:lvl2pPr lvl="1" algn="ctr" rtl="0">
              <a:spcBef>
                <a:spcPts val="0"/>
              </a:spcBef>
              <a:spcAft>
                <a:spcPts val="0"/>
              </a:spcAft>
              <a:buSzPts val="7000"/>
              <a:buNone/>
              <a:defRPr sz="7000"/>
            </a:lvl2pPr>
            <a:lvl3pPr lvl="2" algn="ctr" rtl="0">
              <a:spcBef>
                <a:spcPts val="0"/>
              </a:spcBef>
              <a:spcAft>
                <a:spcPts val="0"/>
              </a:spcAft>
              <a:buSzPts val="7000"/>
              <a:buNone/>
              <a:defRPr sz="7000"/>
            </a:lvl3pPr>
            <a:lvl4pPr lvl="3" algn="ctr" rtl="0">
              <a:spcBef>
                <a:spcPts val="0"/>
              </a:spcBef>
              <a:spcAft>
                <a:spcPts val="0"/>
              </a:spcAft>
              <a:buSzPts val="7000"/>
              <a:buNone/>
              <a:defRPr sz="7000"/>
            </a:lvl4pPr>
            <a:lvl5pPr lvl="4" algn="ctr" rtl="0">
              <a:spcBef>
                <a:spcPts val="0"/>
              </a:spcBef>
              <a:spcAft>
                <a:spcPts val="0"/>
              </a:spcAft>
              <a:buSzPts val="7000"/>
              <a:buNone/>
              <a:defRPr sz="7000"/>
            </a:lvl5pPr>
            <a:lvl6pPr lvl="5" algn="ctr" rtl="0">
              <a:spcBef>
                <a:spcPts val="0"/>
              </a:spcBef>
              <a:spcAft>
                <a:spcPts val="0"/>
              </a:spcAft>
              <a:buSzPts val="7000"/>
              <a:buNone/>
              <a:defRPr sz="7000"/>
            </a:lvl6pPr>
            <a:lvl7pPr lvl="6" algn="ctr" rtl="0">
              <a:spcBef>
                <a:spcPts val="0"/>
              </a:spcBef>
              <a:spcAft>
                <a:spcPts val="0"/>
              </a:spcAft>
              <a:buSzPts val="7000"/>
              <a:buNone/>
              <a:defRPr sz="7000"/>
            </a:lvl7pPr>
            <a:lvl8pPr lvl="7" algn="ctr" rtl="0">
              <a:spcBef>
                <a:spcPts val="0"/>
              </a:spcBef>
              <a:spcAft>
                <a:spcPts val="0"/>
              </a:spcAft>
              <a:buSzPts val="7000"/>
              <a:buNone/>
              <a:defRPr sz="7000"/>
            </a:lvl8pPr>
            <a:lvl9pPr lvl="8" algn="ctr" rtl="0">
              <a:spcBef>
                <a:spcPts val="0"/>
              </a:spcBef>
              <a:spcAft>
                <a:spcPts val="0"/>
              </a:spcAft>
              <a:buSzPts val="7000"/>
              <a:buNone/>
              <a:defRPr sz="7000"/>
            </a:lvl9pPr>
          </a:lstStyle>
          <a:p>
            <a:endParaRPr/>
          </a:p>
        </p:txBody>
      </p:sp>
    </p:spTree>
    <p:extLst>
      <p:ext uri="{BB962C8B-B14F-4D97-AF65-F5344CB8AC3E}">
        <p14:creationId xmlns:p14="http://schemas.microsoft.com/office/powerpoint/2010/main" val="4155814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131446" y="1524001"/>
            <a:ext cx="3679555" cy="1107995"/>
          </a:xfrm>
        </p:spPr>
        <p:txBody>
          <a:bodyPr lIns="0" tIns="0" rIns="0" bIns="0"/>
          <a:lstStyle>
            <a:lvl1pPr>
              <a:defRPr sz="3600" b="1" i="0">
                <a:solidFill>
                  <a:schemeClr val="bg1"/>
                </a:solidFill>
                <a:latin typeface="Ubuntu" panose="020B0504030602030204" pitchFamily="34" charset="0"/>
                <a:cs typeface="Ubuntu" panose="020B0504030602030204" pitchFamily="34" charset="0"/>
              </a:defRPr>
            </a:lvl1pPr>
          </a:lstStyle>
          <a:p>
            <a:r>
              <a:rPr lang="en-US"/>
              <a:t>Click to edit Master title style</a:t>
            </a:r>
            <a:endParaRPr/>
          </a:p>
        </p:txBody>
      </p:sp>
      <p:sp>
        <p:nvSpPr>
          <p:cNvPr id="3" name="Holder 3"/>
          <p:cNvSpPr>
            <a:spLocks noGrp="1"/>
          </p:cNvSpPr>
          <p:nvPr>
            <p:ph type="body" idx="1"/>
          </p:nvPr>
        </p:nvSpPr>
        <p:spPr>
          <a:xfrm>
            <a:off x="8130873" y="2298625"/>
            <a:ext cx="3679555"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4" name="Text Placeholder 13">
            <a:extLst>
              <a:ext uri="{FF2B5EF4-FFF2-40B4-BE49-F238E27FC236}">
                <a16:creationId xmlns:a16="http://schemas.microsoft.com/office/drawing/2014/main" id="{25EAADF3-F4AC-3747-8841-9E31AA8EC7A6}"/>
              </a:ext>
            </a:extLst>
          </p:cNvPr>
          <p:cNvSpPr>
            <a:spLocks noGrp="1"/>
          </p:cNvSpPr>
          <p:nvPr>
            <p:ph type="body" sz="quarter" idx="11"/>
          </p:nvPr>
        </p:nvSpPr>
        <p:spPr>
          <a:xfrm>
            <a:off x="8130873" y="3048000"/>
            <a:ext cx="3679555" cy="1384995"/>
          </a:xfrm>
        </p:spPr>
        <p:txBody>
          <a:bodyPr/>
          <a:lstStyle>
            <a:lvl1pPr>
              <a:lnSpc>
                <a:spcPct val="100000"/>
              </a:lnSpc>
              <a:defRPr sz="1800" b="0">
                <a:solidFill>
                  <a:schemeClr val="bg2">
                    <a:lumMod val="50000"/>
                  </a:schemeClr>
                </a:solidFill>
              </a:defRPr>
            </a:lvl1pPr>
            <a:lvl2pPr>
              <a:lnSpc>
                <a:spcPct val="100000"/>
              </a:lnSpc>
              <a:defRPr sz="1800" b="0">
                <a:solidFill>
                  <a:schemeClr val="bg2">
                    <a:lumMod val="50000"/>
                  </a:schemeClr>
                </a:solidFill>
              </a:defRPr>
            </a:lvl2pPr>
            <a:lvl3pPr>
              <a:lnSpc>
                <a:spcPct val="100000"/>
              </a:lnSpc>
              <a:defRPr sz="1800" b="0">
                <a:solidFill>
                  <a:schemeClr val="bg2">
                    <a:lumMod val="50000"/>
                  </a:schemeClr>
                </a:solidFill>
              </a:defRPr>
            </a:lvl3pPr>
            <a:lvl4pPr>
              <a:lnSpc>
                <a:spcPct val="100000"/>
              </a:lnSpc>
              <a:defRPr sz="1800" b="0">
                <a:solidFill>
                  <a:schemeClr val="bg2">
                    <a:lumMod val="50000"/>
                  </a:schemeClr>
                </a:solidFill>
              </a:defRPr>
            </a:lvl4pPr>
            <a:lvl5pPr>
              <a:lnSpc>
                <a:spcPct val="100000"/>
              </a:lnSpc>
              <a:defRPr sz="18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oup 29">
            <a:extLst>
              <a:ext uri="{FF2B5EF4-FFF2-40B4-BE49-F238E27FC236}">
                <a16:creationId xmlns:a16="http://schemas.microsoft.com/office/drawing/2014/main" id="{568DFC91-31AF-2249-9E5C-A0A3888E8D17}"/>
              </a:ext>
            </a:extLst>
          </p:cNvPr>
          <p:cNvGrpSpPr/>
          <p:nvPr userDrawn="1"/>
        </p:nvGrpSpPr>
        <p:grpSpPr>
          <a:xfrm>
            <a:off x="11504795" y="0"/>
            <a:ext cx="685364" cy="596444"/>
            <a:chOff x="9842956" y="63480"/>
            <a:chExt cx="685364" cy="596444"/>
          </a:xfrm>
        </p:grpSpPr>
        <p:sp>
          <p:nvSpPr>
            <p:cNvPr id="27" name="Rectangle 26">
              <a:extLst>
                <a:ext uri="{FF2B5EF4-FFF2-40B4-BE49-F238E27FC236}">
                  <a16:creationId xmlns:a16="http://schemas.microsoft.com/office/drawing/2014/main" id="{5DD3F602-7E9A-3B46-895E-90038618121C}"/>
                </a:ext>
              </a:extLst>
            </p:cNvPr>
            <p:cNvSpPr/>
            <p:nvPr userDrawn="1"/>
          </p:nvSpPr>
          <p:spPr>
            <a:xfrm>
              <a:off x="10058400" y="63480"/>
              <a:ext cx="381000" cy="381000"/>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sp>
          <p:nvSpPr>
            <p:cNvPr id="28" name="Rectangle 27">
              <a:extLst>
                <a:ext uri="{FF2B5EF4-FFF2-40B4-BE49-F238E27FC236}">
                  <a16:creationId xmlns:a16="http://schemas.microsoft.com/office/drawing/2014/main" id="{3FC62018-E40D-8044-A670-9F1C2D5D5B76}"/>
                </a:ext>
              </a:extLst>
            </p:cNvPr>
            <p:cNvSpPr/>
            <p:nvPr userDrawn="1"/>
          </p:nvSpPr>
          <p:spPr>
            <a:xfrm>
              <a:off x="9842956" y="444480"/>
              <a:ext cx="215444" cy="21544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sp>
          <p:nvSpPr>
            <p:cNvPr id="29" name="Rectangle 28">
              <a:extLst>
                <a:ext uri="{FF2B5EF4-FFF2-40B4-BE49-F238E27FC236}">
                  <a16:creationId xmlns:a16="http://schemas.microsoft.com/office/drawing/2014/main" id="{13FEB03D-1170-C040-87E1-347B08465603}"/>
                </a:ext>
              </a:extLst>
            </p:cNvPr>
            <p:cNvSpPr/>
            <p:nvPr userDrawn="1"/>
          </p:nvSpPr>
          <p:spPr>
            <a:xfrm>
              <a:off x="10439400" y="444480"/>
              <a:ext cx="88920" cy="8892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grpSp>
      <p:sp>
        <p:nvSpPr>
          <p:cNvPr id="39" name="Media Placeholder 38">
            <a:extLst>
              <a:ext uri="{FF2B5EF4-FFF2-40B4-BE49-F238E27FC236}">
                <a16:creationId xmlns:a16="http://schemas.microsoft.com/office/drawing/2014/main" id="{C8A5268D-46A3-7745-A439-D404C69A19A4}"/>
              </a:ext>
            </a:extLst>
          </p:cNvPr>
          <p:cNvSpPr>
            <a:spLocks noGrp="1"/>
          </p:cNvSpPr>
          <p:nvPr>
            <p:ph type="media" sz="quarter" idx="12"/>
          </p:nvPr>
        </p:nvSpPr>
        <p:spPr>
          <a:xfrm>
            <a:off x="1" y="590550"/>
            <a:ext cx="7343775" cy="276999"/>
          </a:xfrm>
        </p:spPr>
        <p:txBody>
          <a:bodyPr/>
          <a:lstStyle/>
          <a:p>
            <a:r>
              <a:rPr lang="en-US"/>
              <a:t>Click icon to add media</a:t>
            </a:r>
          </a:p>
        </p:txBody>
      </p:sp>
    </p:spTree>
    <p:extLst>
      <p:ext uri="{BB962C8B-B14F-4D97-AF65-F5344CB8AC3E}">
        <p14:creationId xmlns:p14="http://schemas.microsoft.com/office/powerpoint/2010/main" val="9493020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100 DO NOT REMOVE · SlidesMania">
  <p:cSld name="100 DO NOT REMOVE · SlidesMania">
    <p:spTree>
      <p:nvGrpSpPr>
        <p:cNvPr id="1" name="Shape 17"/>
        <p:cNvGrpSpPr/>
        <p:nvPr/>
      </p:nvGrpSpPr>
      <p:grpSpPr>
        <a:xfrm>
          <a:off x="0" y="0"/>
          <a:ext cx="0" cy="0"/>
          <a:chOff x="0" y="0"/>
          <a:chExt cx="0" cy="0"/>
        </a:xfrm>
      </p:grpSpPr>
      <p:grpSp>
        <p:nvGrpSpPr>
          <p:cNvPr id="18" name="Google Shape;18;p4"/>
          <p:cNvGrpSpPr/>
          <p:nvPr/>
        </p:nvGrpSpPr>
        <p:grpSpPr>
          <a:xfrm>
            <a:off x="0" y="0"/>
            <a:ext cx="12192000" cy="6858000"/>
            <a:chOff x="0" y="0"/>
            <a:chExt cx="12192000" cy="6858000"/>
          </a:xfrm>
        </p:grpSpPr>
        <p:sp>
          <p:nvSpPr>
            <p:cNvPr id="19" name="Google Shape;19;p4"/>
            <p:cNvSpPr/>
            <p:nvPr/>
          </p:nvSpPr>
          <p:spPr>
            <a:xfrm>
              <a:off x="0" y="0"/>
              <a:ext cx="12192000" cy="68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0" name="Google Shape;20;p4">
              <a:hlinkClick r:id="rId2"/>
            </p:cNvPr>
            <p:cNvPicPr preferRelativeResize="0"/>
            <p:nvPr/>
          </p:nvPicPr>
          <p:blipFill rotWithShape="1">
            <a:blip r:embed="rId3">
              <a:alphaModFix/>
            </a:blip>
            <a:srcRect/>
            <a:stretch/>
          </p:blipFill>
          <p:spPr>
            <a:xfrm>
              <a:off x="465600" y="331100"/>
              <a:ext cx="5101466" cy="2201299"/>
            </a:xfrm>
            <a:prstGeom prst="rect">
              <a:avLst/>
            </a:prstGeom>
            <a:noFill/>
            <a:ln>
              <a:noFill/>
            </a:ln>
          </p:spPr>
        </p:pic>
        <p:sp>
          <p:nvSpPr>
            <p:cNvPr id="21" name="Google Shape;21;p4"/>
            <p:cNvSpPr txBox="1"/>
            <p:nvPr/>
          </p:nvSpPr>
          <p:spPr>
            <a:xfrm>
              <a:off x="463500" y="2858061"/>
              <a:ext cx="8956500" cy="24429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 sz="3600" b="1">
                  <a:solidFill>
                    <a:srgbClr val="3F3F3F"/>
                  </a:solidFill>
                  <a:latin typeface="Poppins"/>
                  <a:ea typeface="Poppins"/>
                  <a:cs typeface="Poppins"/>
                  <a:sym typeface="Poppins"/>
                </a:rPr>
                <a:t>Free </a:t>
              </a:r>
              <a:r>
                <a:rPr lang="en" sz="3600">
                  <a:solidFill>
                    <a:srgbClr val="3F3F3F"/>
                  </a:solidFill>
                  <a:latin typeface="Poppins"/>
                  <a:ea typeface="Poppins"/>
                  <a:cs typeface="Poppins"/>
                  <a:sym typeface="Poppins"/>
                </a:rPr>
                <a:t>themes and templates for </a:t>
              </a:r>
              <a:r>
                <a:rPr lang="en" sz="3600" b="1">
                  <a:solidFill>
                    <a:srgbClr val="3F3F3F"/>
                  </a:solidFill>
                  <a:latin typeface="Poppins"/>
                  <a:ea typeface="Poppins"/>
                  <a:cs typeface="Poppins"/>
                  <a:sym typeface="Poppins"/>
                </a:rPr>
                <a:t>Google Slides</a:t>
              </a:r>
              <a:r>
                <a:rPr lang="en" sz="3600">
                  <a:solidFill>
                    <a:srgbClr val="3F3F3F"/>
                  </a:solidFill>
                  <a:latin typeface="Poppins"/>
                  <a:ea typeface="Poppins"/>
                  <a:cs typeface="Poppins"/>
                  <a:sym typeface="Poppins"/>
                </a:rPr>
                <a:t> or </a:t>
              </a:r>
              <a:r>
                <a:rPr lang="en" sz="3600" b="1">
                  <a:solidFill>
                    <a:srgbClr val="3F3F3F"/>
                  </a:solidFill>
                  <a:latin typeface="Poppins"/>
                  <a:ea typeface="Poppins"/>
                  <a:cs typeface="Poppins"/>
                  <a:sym typeface="Poppins"/>
                </a:rPr>
                <a:t>PowerPoint</a:t>
              </a:r>
              <a:endParaRPr sz="3600" b="1">
                <a:solidFill>
                  <a:srgbClr val="3F3F3F"/>
                </a:solidFill>
                <a:latin typeface="Poppins"/>
                <a:ea typeface="Poppins"/>
                <a:cs typeface="Poppins"/>
                <a:sym typeface="Poppins"/>
              </a:endParaRPr>
            </a:p>
            <a:p>
              <a:pPr marL="0" marR="0" lvl="0" indent="0" algn="l" rtl="0">
                <a:spcBef>
                  <a:spcPts val="0"/>
                </a:spcBef>
                <a:spcAft>
                  <a:spcPts val="0"/>
                </a:spcAft>
                <a:buNone/>
              </a:pPr>
              <a:endParaRPr sz="3600" b="1">
                <a:solidFill>
                  <a:srgbClr val="3F3F3F"/>
                </a:solidFill>
                <a:latin typeface="Poppins"/>
                <a:ea typeface="Poppins"/>
                <a:cs typeface="Poppins"/>
                <a:sym typeface="Poppins"/>
              </a:endParaRPr>
            </a:p>
            <a:p>
              <a:pPr marL="0" marR="0" lvl="0" indent="0" algn="l" rtl="0">
                <a:spcBef>
                  <a:spcPts val="0"/>
                </a:spcBef>
                <a:spcAft>
                  <a:spcPts val="0"/>
                </a:spcAft>
                <a:buNone/>
              </a:pPr>
              <a:endParaRPr sz="3600" b="1">
                <a:solidFill>
                  <a:srgbClr val="3F3F3F"/>
                </a:solidFill>
                <a:latin typeface="Poppins"/>
                <a:ea typeface="Poppins"/>
                <a:cs typeface="Poppins"/>
                <a:sym typeface="Poppins"/>
              </a:endParaRPr>
            </a:p>
            <a:p>
              <a:pPr marL="0" marR="0" lvl="0" indent="0" algn="l" rtl="0">
                <a:spcBef>
                  <a:spcPts val="0"/>
                </a:spcBef>
                <a:spcAft>
                  <a:spcPts val="0"/>
                </a:spcAft>
                <a:buNone/>
              </a:pPr>
              <a:r>
                <a:rPr lang="en" sz="3000" b="1">
                  <a:solidFill>
                    <a:srgbClr val="FFCB25"/>
                  </a:solidFill>
                  <a:latin typeface="Poppins"/>
                  <a:ea typeface="Poppins"/>
                  <a:cs typeface="Poppins"/>
                  <a:sym typeface="Poppins"/>
                </a:rPr>
                <a:t>NOT to be sold as is or modified!</a:t>
              </a:r>
              <a:endParaRPr sz="3000" b="1">
                <a:solidFill>
                  <a:srgbClr val="FFCB25"/>
                </a:solidFill>
                <a:latin typeface="Poppins"/>
                <a:ea typeface="Poppins"/>
                <a:cs typeface="Poppins"/>
                <a:sym typeface="Poppins"/>
              </a:endParaRPr>
            </a:p>
            <a:p>
              <a:pPr marL="0" lvl="0" indent="0" algn="l" rtl="0">
                <a:spcBef>
                  <a:spcPts val="0"/>
                </a:spcBef>
                <a:spcAft>
                  <a:spcPts val="0"/>
                </a:spcAft>
                <a:buNone/>
              </a:pPr>
              <a:r>
                <a:rPr lang="en" sz="2700">
                  <a:solidFill>
                    <a:srgbClr val="3F3F3F"/>
                  </a:solidFill>
                  <a:latin typeface="Poppins"/>
                  <a:ea typeface="Poppins"/>
                  <a:cs typeface="Poppins"/>
                  <a:sym typeface="Poppins"/>
                </a:rPr>
                <a:t>Read </a:t>
              </a:r>
              <a:r>
                <a:rPr lang="en" sz="2700" u="sng">
                  <a:solidFill>
                    <a:srgbClr val="3F3F3F"/>
                  </a:solidFill>
                  <a:latin typeface="Poppins"/>
                  <a:ea typeface="Poppins"/>
                  <a:cs typeface="Poppins"/>
                  <a:sym typeface="Poppins"/>
                  <a:hlinkClick r:id="rId4">
                    <a:extLst>
                      <a:ext uri="{A12FA001-AC4F-418D-AE19-62706E023703}">
                        <ahyp:hlinkClr xmlns:ahyp="http://schemas.microsoft.com/office/drawing/2018/hyperlinkcolor" val="tx"/>
                      </a:ext>
                    </a:extLst>
                  </a:hlinkClick>
                </a:rPr>
                <a:t>FAQ</a:t>
              </a:r>
              <a:r>
                <a:rPr lang="en" sz="4400" b="1">
                  <a:solidFill>
                    <a:srgbClr val="FFCB25"/>
                  </a:solidFill>
                  <a:latin typeface="Poppins"/>
                  <a:ea typeface="Poppins"/>
                  <a:cs typeface="Poppins"/>
                  <a:sym typeface="Poppins"/>
                </a:rPr>
                <a:t> </a:t>
              </a:r>
              <a:r>
                <a:rPr lang="en" sz="2700">
                  <a:solidFill>
                    <a:srgbClr val="3F3F3F"/>
                  </a:solidFill>
                  <a:latin typeface="Poppins"/>
                  <a:ea typeface="Poppins"/>
                  <a:cs typeface="Poppins"/>
                  <a:sym typeface="Poppins"/>
                </a:rPr>
                <a:t>on slidesmania.com</a:t>
              </a:r>
              <a:endParaRPr sz="2700">
                <a:solidFill>
                  <a:srgbClr val="3F3F3F"/>
                </a:solidFill>
                <a:latin typeface="Poppins"/>
                <a:ea typeface="Poppins"/>
                <a:cs typeface="Poppins"/>
                <a:sym typeface="Poppins"/>
              </a:endParaRPr>
            </a:p>
            <a:p>
              <a:pPr marL="0" lvl="0" indent="0" algn="l" rtl="0">
                <a:spcBef>
                  <a:spcPts val="0"/>
                </a:spcBef>
                <a:spcAft>
                  <a:spcPts val="0"/>
                </a:spcAft>
                <a:buNone/>
              </a:pPr>
              <a:r>
                <a:rPr lang="en" sz="2000">
                  <a:solidFill>
                    <a:srgbClr val="3F3F3F"/>
                  </a:solidFill>
                  <a:latin typeface="Poppins"/>
                  <a:ea typeface="Poppins"/>
                  <a:cs typeface="Poppins"/>
                  <a:sym typeface="Poppins"/>
                </a:rPr>
                <a:t>Do not remove the slidesmania.com text on the sides.</a:t>
              </a:r>
              <a:endParaRPr sz="2000">
                <a:solidFill>
                  <a:srgbClr val="3F3F3F"/>
                </a:solidFill>
                <a:latin typeface="Poppins"/>
                <a:ea typeface="Poppins"/>
                <a:cs typeface="Poppins"/>
                <a:sym typeface="Poppins"/>
              </a:endParaRPr>
            </a:p>
          </p:txBody>
        </p:sp>
        <p:cxnSp>
          <p:nvCxnSpPr>
            <p:cNvPr id="22" name="Google Shape;22;p4"/>
            <p:cNvCxnSpPr/>
            <p:nvPr/>
          </p:nvCxnSpPr>
          <p:spPr>
            <a:xfrm>
              <a:off x="10423367" y="5688858"/>
              <a:ext cx="1495200" cy="12900"/>
            </a:xfrm>
            <a:prstGeom prst="straightConnector1">
              <a:avLst/>
            </a:prstGeom>
            <a:noFill/>
            <a:ln w="38100" cap="flat" cmpd="sng">
              <a:solidFill>
                <a:srgbClr val="FFCB25"/>
              </a:solidFill>
              <a:prstDash val="solid"/>
              <a:round/>
              <a:headEnd type="none" w="med" len="med"/>
              <a:tailEnd type="none" w="med" len="med"/>
            </a:ln>
          </p:spPr>
        </p:cxnSp>
        <p:pic>
          <p:nvPicPr>
            <p:cNvPr id="23" name="Google Shape;23;p4">
              <a:hlinkClick r:id="rId5"/>
            </p:cNvPr>
            <p:cNvPicPr preferRelativeResize="0"/>
            <p:nvPr/>
          </p:nvPicPr>
          <p:blipFill>
            <a:blip r:embed="rId6">
              <a:alphaModFix/>
            </a:blip>
            <a:stretch>
              <a:fillRect/>
            </a:stretch>
          </p:blipFill>
          <p:spPr>
            <a:xfrm>
              <a:off x="8982558" y="5912306"/>
              <a:ext cx="713232" cy="637863"/>
            </a:xfrm>
            <a:prstGeom prst="rect">
              <a:avLst/>
            </a:prstGeom>
            <a:noFill/>
            <a:ln>
              <a:noFill/>
            </a:ln>
          </p:spPr>
        </p:pic>
        <p:pic>
          <p:nvPicPr>
            <p:cNvPr id="24" name="Google Shape;24;p4">
              <a:hlinkClick r:id="rId7"/>
            </p:cNvPr>
            <p:cNvPicPr preferRelativeResize="0"/>
            <p:nvPr/>
          </p:nvPicPr>
          <p:blipFill>
            <a:blip r:embed="rId8">
              <a:alphaModFix/>
            </a:blip>
            <a:stretch>
              <a:fillRect/>
            </a:stretch>
          </p:blipFill>
          <p:spPr>
            <a:xfrm>
              <a:off x="9764428" y="5916798"/>
              <a:ext cx="708660" cy="628879"/>
            </a:xfrm>
            <a:prstGeom prst="rect">
              <a:avLst/>
            </a:prstGeom>
            <a:noFill/>
            <a:ln>
              <a:noFill/>
            </a:ln>
          </p:spPr>
        </p:pic>
        <p:pic>
          <p:nvPicPr>
            <p:cNvPr id="25" name="Google Shape;25;p4">
              <a:hlinkClick r:id="rId9"/>
            </p:cNvPr>
            <p:cNvPicPr preferRelativeResize="0"/>
            <p:nvPr/>
          </p:nvPicPr>
          <p:blipFill>
            <a:blip r:embed="rId10">
              <a:alphaModFix/>
            </a:blip>
            <a:stretch>
              <a:fillRect/>
            </a:stretch>
          </p:blipFill>
          <p:spPr>
            <a:xfrm>
              <a:off x="10541715" y="5905569"/>
              <a:ext cx="612648" cy="624387"/>
            </a:xfrm>
            <a:prstGeom prst="rect">
              <a:avLst/>
            </a:prstGeom>
            <a:noFill/>
            <a:ln>
              <a:noFill/>
            </a:ln>
          </p:spPr>
        </p:pic>
        <p:pic>
          <p:nvPicPr>
            <p:cNvPr id="26" name="Google Shape;26;p4">
              <a:hlinkClick r:id="rId11"/>
            </p:cNvPr>
            <p:cNvPicPr preferRelativeResize="0"/>
            <p:nvPr/>
          </p:nvPicPr>
          <p:blipFill>
            <a:blip r:embed="rId12">
              <a:alphaModFix/>
            </a:blip>
            <a:stretch>
              <a:fillRect/>
            </a:stretch>
          </p:blipFill>
          <p:spPr>
            <a:xfrm>
              <a:off x="11219049" y="5916799"/>
              <a:ext cx="699516" cy="601927"/>
            </a:xfrm>
            <a:prstGeom prst="rect">
              <a:avLst/>
            </a:prstGeom>
            <a:noFill/>
            <a:ln>
              <a:noFill/>
            </a:ln>
          </p:spPr>
        </p:pic>
        <p:sp>
          <p:nvSpPr>
            <p:cNvPr id="27" name="Google Shape;27;p4"/>
            <p:cNvSpPr txBox="1"/>
            <p:nvPr/>
          </p:nvSpPr>
          <p:spPr>
            <a:xfrm>
              <a:off x="7072500" y="4813375"/>
              <a:ext cx="4915500" cy="10011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400" b="1">
                  <a:solidFill>
                    <a:srgbClr val="252525"/>
                  </a:solidFill>
                  <a:latin typeface="Homemade Apple"/>
                  <a:ea typeface="Homemade Apple"/>
                  <a:cs typeface="Homemade Apple"/>
                  <a:sym typeface="Homemade Apple"/>
                </a:rPr>
                <a:t>Sharing is caring!</a:t>
              </a:r>
              <a:endParaRPr sz="2400" b="1">
                <a:solidFill>
                  <a:srgbClr val="252525"/>
                </a:solidFill>
                <a:latin typeface="Homemade Apple"/>
                <a:ea typeface="Homemade Apple"/>
                <a:cs typeface="Homemade Apple"/>
                <a:sym typeface="Homemade Apple"/>
              </a:endParaRPr>
            </a:p>
          </p:txBody>
        </p:sp>
      </p:grpSp>
    </p:spTree>
    <p:extLst>
      <p:ext uri="{BB962C8B-B14F-4D97-AF65-F5344CB8AC3E}">
        <p14:creationId xmlns:p14="http://schemas.microsoft.com/office/powerpoint/2010/main" val="42613189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002 Intro">
  <p:cSld name="002 Intro">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6072725" y="1583975"/>
            <a:ext cx="5322600" cy="1324800"/>
          </a:xfrm>
          <a:prstGeom prst="rect">
            <a:avLst/>
          </a:prstGeom>
        </p:spPr>
        <p:txBody>
          <a:bodyPr spcFirstLastPara="1" wrap="square" lIns="121900" tIns="121900" rIns="121900" bIns="121900" anchor="t" anchorCtr="0">
            <a:noAutofit/>
          </a:bodyPr>
          <a:lstStyle>
            <a:lvl1pPr marL="0" marR="0" lvl="0" indent="0" algn="r" rtl="0">
              <a:lnSpc>
                <a:spcPct val="100000"/>
              </a:lnSpc>
              <a:spcBef>
                <a:spcPts val="0"/>
              </a:spcBef>
              <a:spcAft>
                <a:spcPts val="0"/>
              </a:spcAft>
              <a:buClr>
                <a:schemeClr val="dk1"/>
              </a:buClr>
              <a:buSzPts val="7000"/>
              <a:buFont typeface="Aldrich"/>
              <a:buNone/>
              <a:defRPr sz="7000"/>
            </a:lvl1pPr>
            <a:lvl2pPr lvl="1"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2pPr>
            <a:lvl3pPr lvl="2"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3pPr>
            <a:lvl4pPr lvl="3"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4pPr>
            <a:lvl5pPr lvl="4"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5pPr>
            <a:lvl6pPr lvl="5"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6pPr>
            <a:lvl7pPr lvl="6"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7pPr>
            <a:lvl8pPr lvl="7"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8pPr>
            <a:lvl9pPr lvl="8" algn="r" rtl="0">
              <a:spcBef>
                <a:spcPts val="0"/>
              </a:spcBef>
              <a:spcAft>
                <a:spcPts val="0"/>
              </a:spcAft>
              <a:buClr>
                <a:schemeClr val="dk1"/>
              </a:buClr>
              <a:buSzPts val="7000"/>
              <a:buFont typeface="Abril Fatface"/>
              <a:buNone/>
              <a:defRPr sz="7000">
                <a:solidFill>
                  <a:schemeClr val="dk1"/>
                </a:solidFill>
                <a:latin typeface="Abril Fatface"/>
                <a:ea typeface="Abril Fatface"/>
                <a:cs typeface="Abril Fatface"/>
                <a:sym typeface="Abril Fatface"/>
              </a:defRPr>
            </a:lvl9pPr>
          </a:lstStyle>
          <a:p>
            <a:endParaRPr/>
          </a:p>
        </p:txBody>
      </p:sp>
      <p:sp>
        <p:nvSpPr>
          <p:cNvPr id="30" name="Google Shape;30;p5"/>
          <p:cNvSpPr txBox="1">
            <a:spLocks noGrp="1"/>
          </p:cNvSpPr>
          <p:nvPr>
            <p:ph type="body" idx="1"/>
          </p:nvPr>
        </p:nvSpPr>
        <p:spPr>
          <a:xfrm>
            <a:off x="6072700" y="2988275"/>
            <a:ext cx="5322600" cy="2235900"/>
          </a:xfrm>
          <a:prstGeom prst="rect">
            <a:avLst/>
          </a:prstGeom>
        </p:spPr>
        <p:txBody>
          <a:bodyPr spcFirstLastPara="1" wrap="square" lIns="121900" tIns="121900" rIns="121900" bIns="121900" anchor="t" anchorCtr="0">
            <a:noAutofit/>
          </a:bodyPr>
          <a:lstStyle>
            <a:lvl1pPr marL="457200" lvl="0" indent="-368300" algn="r">
              <a:spcBef>
                <a:spcPts val="0"/>
              </a:spcBef>
              <a:spcAft>
                <a:spcPts val="0"/>
              </a:spcAft>
              <a:buSzPts val="2200"/>
              <a:buChar char="●"/>
              <a:defRPr/>
            </a:lvl1pPr>
            <a:lvl2pPr marL="914400" lvl="1" indent="-368300" algn="r">
              <a:spcBef>
                <a:spcPts val="2100"/>
              </a:spcBef>
              <a:spcAft>
                <a:spcPts val="0"/>
              </a:spcAft>
              <a:buSzPts val="2200"/>
              <a:buChar char="○"/>
              <a:defRPr/>
            </a:lvl2pPr>
            <a:lvl3pPr marL="1371600" lvl="2" indent="-368300" algn="r">
              <a:spcBef>
                <a:spcPts val="2100"/>
              </a:spcBef>
              <a:spcAft>
                <a:spcPts val="0"/>
              </a:spcAft>
              <a:buSzPts val="2200"/>
              <a:buChar char="■"/>
              <a:defRPr/>
            </a:lvl3pPr>
            <a:lvl4pPr marL="1828800" lvl="3" indent="-368300" algn="r">
              <a:spcBef>
                <a:spcPts val="2100"/>
              </a:spcBef>
              <a:spcAft>
                <a:spcPts val="0"/>
              </a:spcAft>
              <a:buSzPts val="2200"/>
              <a:buChar char="●"/>
              <a:defRPr/>
            </a:lvl4pPr>
            <a:lvl5pPr marL="2286000" lvl="4" indent="-368300" algn="r">
              <a:spcBef>
                <a:spcPts val="2100"/>
              </a:spcBef>
              <a:spcAft>
                <a:spcPts val="0"/>
              </a:spcAft>
              <a:buSzPts val="2200"/>
              <a:buChar char="○"/>
              <a:defRPr/>
            </a:lvl5pPr>
            <a:lvl6pPr marL="2743200" lvl="5" indent="-368300" algn="r">
              <a:spcBef>
                <a:spcPts val="2100"/>
              </a:spcBef>
              <a:spcAft>
                <a:spcPts val="0"/>
              </a:spcAft>
              <a:buSzPts val="2200"/>
              <a:buChar char="■"/>
              <a:defRPr/>
            </a:lvl6pPr>
            <a:lvl7pPr marL="3200400" lvl="6" indent="-368300" algn="r">
              <a:spcBef>
                <a:spcPts val="2100"/>
              </a:spcBef>
              <a:spcAft>
                <a:spcPts val="0"/>
              </a:spcAft>
              <a:buSzPts val="2200"/>
              <a:buChar char="●"/>
              <a:defRPr/>
            </a:lvl7pPr>
            <a:lvl8pPr marL="3657600" lvl="7" indent="-368300" algn="r">
              <a:spcBef>
                <a:spcPts val="2100"/>
              </a:spcBef>
              <a:spcAft>
                <a:spcPts val="0"/>
              </a:spcAft>
              <a:buSzPts val="2200"/>
              <a:buChar char="○"/>
              <a:defRPr/>
            </a:lvl8pPr>
            <a:lvl9pPr marL="4114800" lvl="8" indent="-368300" algn="r">
              <a:spcBef>
                <a:spcPts val="2100"/>
              </a:spcBef>
              <a:spcAft>
                <a:spcPts val="2100"/>
              </a:spcAft>
              <a:buSzPts val="2200"/>
              <a:buChar char="■"/>
              <a:defRPr/>
            </a:lvl9pPr>
          </a:lstStyle>
          <a:p>
            <a:endParaRPr/>
          </a:p>
        </p:txBody>
      </p:sp>
      <p:sp>
        <p:nvSpPr>
          <p:cNvPr id="31" name="Google Shape;31;p5"/>
          <p:cNvSpPr/>
          <p:nvPr/>
        </p:nvSpPr>
        <p:spPr>
          <a:xfrm rot="4232391">
            <a:off x="2495557" y="-189506"/>
            <a:ext cx="1924082" cy="5600704"/>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 name="Google Shape;32;p5"/>
          <p:cNvSpPr/>
          <p:nvPr/>
        </p:nvSpPr>
        <p:spPr>
          <a:xfrm rot="-398542">
            <a:off x="80305" y="2954274"/>
            <a:ext cx="6798828" cy="1329167"/>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3" name="Google Shape;33;p5"/>
          <p:cNvSpPr/>
          <p:nvPr/>
        </p:nvSpPr>
        <p:spPr>
          <a:xfrm rot="4232437">
            <a:off x="2965921" y="1627035"/>
            <a:ext cx="1541762" cy="5600704"/>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3995126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003 Talking Points">
  <p:cSld name="003 Talking Points">
    <p:spTree>
      <p:nvGrpSpPr>
        <p:cNvPr id="1" name="Shape 34"/>
        <p:cNvGrpSpPr/>
        <p:nvPr/>
      </p:nvGrpSpPr>
      <p:grpSpPr>
        <a:xfrm>
          <a:off x="0" y="0"/>
          <a:ext cx="0" cy="0"/>
          <a:chOff x="0" y="0"/>
          <a:chExt cx="0" cy="0"/>
        </a:xfrm>
      </p:grpSpPr>
      <p:sp>
        <p:nvSpPr>
          <p:cNvPr id="35" name="Google Shape;35;p6"/>
          <p:cNvSpPr txBox="1">
            <a:spLocks noGrp="1"/>
          </p:cNvSpPr>
          <p:nvPr>
            <p:ph type="title"/>
          </p:nvPr>
        </p:nvSpPr>
        <p:spPr>
          <a:xfrm>
            <a:off x="415600" y="10505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6000"/>
              <a:buFont typeface="Aldrich"/>
              <a:buNone/>
              <a:defRPr sz="6000"/>
            </a:lvl1pPr>
            <a:lvl2pPr lvl="1"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6000"/>
              <a:buFont typeface="Abril Fatface"/>
              <a:buNone/>
              <a:defRPr sz="6000">
                <a:solidFill>
                  <a:schemeClr val="dk1"/>
                </a:solidFill>
                <a:latin typeface="Abril Fatface"/>
                <a:ea typeface="Abril Fatface"/>
                <a:cs typeface="Abril Fatface"/>
                <a:sym typeface="Abril Fatface"/>
              </a:defRPr>
            </a:lvl9pPr>
          </a:lstStyle>
          <a:p>
            <a:endParaRPr/>
          </a:p>
        </p:txBody>
      </p:sp>
      <p:sp>
        <p:nvSpPr>
          <p:cNvPr id="36" name="Google Shape;36;p6"/>
          <p:cNvSpPr txBox="1">
            <a:spLocks noGrp="1"/>
          </p:cNvSpPr>
          <p:nvPr>
            <p:ph type="body" idx="1"/>
          </p:nvPr>
        </p:nvSpPr>
        <p:spPr>
          <a:xfrm>
            <a:off x="2657025" y="3153925"/>
            <a:ext cx="8955600" cy="2883300"/>
          </a:xfrm>
          <a:prstGeom prst="rect">
            <a:avLst/>
          </a:prstGeom>
        </p:spPr>
        <p:txBody>
          <a:bodyPr spcFirstLastPara="1" wrap="square" lIns="121900" tIns="121900" rIns="121900" bIns="121900" anchor="t" anchorCtr="0">
            <a:noAutofit/>
          </a:bodyPr>
          <a:lstStyle>
            <a:lvl1pPr marL="457200" lvl="0" indent="-368300" rtl="0">
              <a:spcBef>
                <a:spcPts val="0"/>
              </a:spcBef>
              <a:spcAft>
                <a:spcPts val="0"/>
              </a:spcAft>
              <a:buSzPts val="2200"/>
              <a:buChar char="●"/>
              <a:defRPr/>
            </a:lvl1pPr>
            <a:lvl2pPr marL="914400" lvl="1" indent="-368300" rtl="0">
              <a:spcBef>
                <a:spcPts val="2100"/>
              </a:spcBef>
              <a:spcAft>
                <a:spcPts val="0"/>
              </a:spcAft>
              <a:buSzPts val="2200"/>
              <a:buChar char="○"/>
              <a:defRPr/>
            </a:lvl2pPr>
            <a:lvl3pPr marL="1371600" lvl="2" indent="-368300" rtl="0">
              <a:spcBef>
                <a:spcPts val="2100"/>
              </a:spcBef>
              <a:spcAft>
                <a:spcPts val="0"/>
              </a:spcAft>
              <a:buSzPts val="2200"/>
              <a:buChar char="■"/>
              <a:defRPr/>
            </a:lvl3pPr>
            <a:lvl4pPr marL="1828800" lvl="3" indent="-368300" rtl="0">
              <a:spcBef>
                <a:spcPts val="2100"/>
              </a:spcBef>
              <a:spcAft>
                <a:spcPts val="0"/>
              </a:spcAft>
              <a:buSzPts val="2200"/>
              <a:buChar char="●"/>
              <a:defRPr/>
            </a:lvl4pPr>
            <a:lvl5pPr marL="2286000" lvl="4" indent="-368300" rtl="0">
              <a:spcBef>
                <a:spcPts val="2100"/>
              </a:spcBef>
              <a:spcAft>
                <a:spcPts val="0"/>
              </a:spcAft>
              <a:buSzPts val="2200"/>
              <a:buChar char="○"/>
              <a:defRPr/>
            </a:lvl5pPr>
            <a:lvl6pPr marL="2743200" lvl="5" indent="-368300" rtl="0">
              <a:spcBef>
                <a:spcPts val="2100"/>
              </a:spcBef>
              <a:spcAft>
                <a:spcPts val="0"/>
              </a:spcAft>
              <a:buSzPts val="2200"/>
              <a:buChar char="■"/>
              <a:defRPr/>
            </a:lvl6pPr>
            <a:lvl7pPr marL="3200400" lvl="6" indent="-368300" rtl="0">
              <a:spcBef>
                <a:spcPts val="2100"/>
              </a:spcBef>
              <a:spcAft>
                <a:spcPts val="0"/>
              </a:spcAft>
              <a:buSzPts val="2200"/>
              <a:buChar char="●"/>
              <a:defRPr/>
            </a:lvl7pPr>
            <a:lvl8pPr marL="3657600" lvl="7" indent="-368300" rtl="0">
              <a:spcBef>
                <a:spcPts val="2100"/>
              </a:spcBef>
              <a:spcAft>
                <a:spcPts val="0"/>
              </a:spcAft>
              <a:buSzPts val="2200"/>
              <a:buChar char="○"/>
              <a:defRPr/>
            </a:lvl8pPr>
            <a:lvl9pPr marL="4114800" lvl="8" indent="-368300" rtl="0">
              <a:spcBef>
                <a:spcPts val="2100"/>
              </a:spcBef>
              <a:spcAft>
                <a:spcPts val="2100"/>
              </a:spcAft>
              <a:buSzPts val="2200"/>
              <a:buChar char="■"/>
              <a:defRPr/>
            </a:lvl9pPr>
          </a:lstStyle>
          <a:p>
            <a:endParaRPr/>
          </a:p>
        </p:txBody>
      </p:sp>
      <p:grpSp>
        <p:nvGrpSpPr>
          <p:cNvPr id="37" name="Google Shape;37;p6"/>
          <p:cNvGrpSpPr/>
          <p:nvPr/>
        </p:nvGrpSpPr>
        <p:grpSpPr>
          <a:xfrm>
            <a:off x="6692400" y="4786672"/>
            <a:ext cx="5271400" cy="2071449"/>
            <a:chOff x="1712140" y="3412070"/>
            <a:chExt cx="8769590" cy="3446096"/>
          </a:xfrm>
        </p:grpSpPr>
        <p:grpSp>
          <p:nvGrpSpPr>
            <p:cNvPr id="38" name="Google Shape;38;p6"/>
            <p:cNvGrpSpPr/>
            <p:nvPr/>
          </p:nvGrpSpPr>
          <p:grpSpPr>
            <a:xfrm>
              <a:off x="1712140" y="4978441"/>
              <a:ext cx="1335858" cy="1879449"/>
              <a:chOff x="-4553270" y="133869"/>
              <a:chExt cx="4680652" cy="6585317"/>
            </a:xfrm>
          </p:grpSpPr>
          <p:sp>
            <p:nvSpPr>
              <p:cNvPr id="39" name="Google Shape;39;p6"/>
              <p:cNvSpPr/>
              <p:nvPr/>
            </p:nvSpPr>
            <p:spPr>
              <a:xfrm>
                <a:off x="-3843866" y="237067"/>
                <a:ext cx="3869267" cy="6172200"/>
              </a:xfrm>
              <a:custGeom>
                <a:avLst/>
                <a:gdLst/>
                <a:ahLst/>
                <a:cxnLst/>
                <a:rect l="l" t="t" r="r" b="b"/>
                <a:pathLst>
                  <a:path w="3869267" h="6172200" extrusionOk="0">
                    <a:moveTo>
                      <a:pt x="313267" y="922866"/>
                    </a:moveTo>
                    <a:lnTo>
                      <a:pt x="651934" y="745066"/>
                    </a:lnTo>
                    <a:lnTo>
                      <a:pt x="1143000" y="0"/>
                    </a:lnTo>
                    <a:lnTo>
                      <a:pt x="2116667" y="524933"/>
                    </a:lnTo>
                    <a:lnTo>
                      <a:pt x="2624667" y="770466"/>
                    </a:lnTo>
                    <a:lnTo>
                      <a:pt x="2540000" y="905933"/>
                    </a:lnTo>
                    <a:lnTo>
                      <a:pt x="3285067" y="1676400"/>
                    </a:lnTo>
                    <a:lnTo>
                      <a:pt x="3869267" y="2319866"/>
                    </a:lnTo>
                    <a:lnTo>
                      <a:pt x="3344334" y="2683933"/>
                    </a:lnTo>
                    <a:lnTo>
                      <a:pt x="3505200" y="2912533"/>
                    </a:lnTo>
                    <a:lnTo>
                      <a:pt x="3183467" y="4072466"/>
                    </a:lnTo>
                    <a:lnTo>
                      <a:pt x="2641600" y="4665133"/>
                    </a:lnTo>
                    <a:lnTo>
                      <a:pt x="2497667" y="6172200"/>
                    </a:lnTo>
                    <a:lnTo>
                      <a:pt x="1608667" y="6070600"/>
                    </a:lnTo>
                    <a:lnTo>
                      <a:pt x="1168400" y="4241800"/>
                    </a:lnTo>
                    <a:lnTo>
                      <a:pt x="1219200" y="3318933"/>
                    </a:lnTo>
                    <a:lnTo>
                      <a:pt x="0" y="2667000"/>
                    </a:lnTo>
                    <a:lnTo>
                      <a:pt x="152401" y="1269999"/>
                    </a:lnTo>
                  </a:path>
                </a:pathLst>
              </a:custGeom>
              <a:solidFill>
                <a:srgbClr val="86522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grpSp>
            <p:nvGrpSpPr>
              <p:cNvPr id="40" name="Google Shape;40;p6"/>
              <p:cNvGrpSpPr/>
              <p:nvPr/>
            </p:nvGrpSpPr>
            <p:grpSpPr>
              <a:xfrm>
                <a:off x="-4553270" y="133869"/>
                <a:ext cx="4680652" cy="6585317"/>
                <a:chOff x="7139197" y="345537"/>
                <a:chExt cx="4680652" cy="6585317"/>
              </a:xfrm>
            </p:grpSpPr>
            <p:sp>
              <p:nvSpPr>
                <p:cNvPr id="41" name="Google Shape;41;p6"/>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B66B2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 name="Google Shape;42;p6"/>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B66B2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 name="Google Shape;43;p6"/>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B66B2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6"/>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B66B2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6"/>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B66B2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 name="Google Shape;46;p6"/>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B66B2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nvGrpSpPr>
            <p:cNvPr id="47" name="Google Shape;47;p6"/>
            <p:cNvGrpSpPr/>
            <p:nvPr/>
          </p:nvGrpSpPr>
          <p:grpSpPr>
            <a:xfrm>
              <a:off x="3126221" y="4224860"/>
              <a:ext cx="1871325" cy="2632810"/>
              <a:chOff x="-4553270" y="133869"/>
              <a:chExt cx="4680652" cy="6585317"/>
            </a:xfrm>
          </p:grpSpPr>
          <p:sp>
            <p:nvSpPr>
              <p:cNvPr id="48" name="Google Shape;48;p6"/>
              <p:cNvSpPr/>
              <p:nvPr/>
            </p:nvSpPr>
            <p:spPr>
              <a:xfrm>
                <a:off x="-3843866" y="237067"/>
                <a:ext cx="3869267" cy="6172200"/>
              </a:xfrm>
              <a:custGeom>
                <a:avLst/>
                <a:gdLst/>
                <a:ahLst/>
                <a:cxnLst/>
                <a:rect l="l" t="t" r="r" b="b"/>
                <a:pathLst>
                  <a:path w="3869267" h="6172200" extrusionOk="0">
                    <a:moveTo>
                      <a:pt x="313267" y="922866"/>
                    </a:moveTo>
                    <a:lnTo>
                      <a:pt x="651934" y="745066"/>
                    </a:lnTo>
                    <a:lnTo>
                      <a:pt x="1143000" y="0"/>
                    </a:lnTo>
                    <a:lnTo>
                      <a:pt x="2116667" y="524933"/>
                    </a:lnTo>
                    <a:lnTo>
                      <a:pt x="2624667" y="770466"/>
                    </a:lnTo>
                    <a:lnTo>
                      <a:pt x="2540000" y="905933"/>
                    </a:lnTo>
                    <a:lnTo>
                      <a:pt x="3285067" y="1676400"/>
                    </a:lnTo>
                    <a:lnTo>
                      <a:pt x="3869267" y="2319866"/>
                    </a:lnTo>
                    <a:lnTo>
                      <a:pt x="3344334" y="2683933"/>
                    </a:lnTo>
                    <a:lnTo>
                      <a:pt x="3505200" y="2912533"/>
                    </a:lnTo>
                    <a:lnTo>
                      <a:pt x="3183467" y="4072466"/>
                    </a:lnTo>
                    <a:lnTo>
                      <a:pt x="2641600" y="4665133"/>
                    </a:lnTo>
                    <a:lnTo>
                      <a:pt x="2497667" y="6172200"/>
                    </a:lnTo>
                    <a:lnTo>
                      <a:pt x="1608667" y="6070600"/>
                    </a:lnTo>
                    <a:lnTo>
                      <a:pt x="1168400" y="4241800"/>
                    </a:lnTo>
                    <a:lnTo>
                      <a:pt x="1219200" y="3318933"/>
                    </a:lnTo>
                    <a:lnTo>
                      <a:pt x="0" y="2667000"/>
                    </a:lnTo>
                    <a:lnTo>
                      <a:pt x="152401" y="1269999"/>
                    </a:lnTo>
                  </a:path>
                </a:pathLst>
              </a:custGeom>
              <a:solidFill>
                <a:srgbClr val="67432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grpSp>
            <p:nvGrpSpPr>
              <p:cNvPr id="49" name="Google Shape;49;p6"/>
              <p:cNvGrpSpPr/>
              <p:nvPr/>
            </p:nvGrpSpPr>
            <p:grpSpPr>
              <a:xfrm>
                <a:off x="-4553270" y="133869"/>
                <a:ext cx="4680652" cy="6585317"/>
                <a:chOff x="7139197" y="345537"/>
                <a:chExt cx="4680652" cy="6585317"/>
              </a:xfrm>
            </p:grpSpPr>
            <p:sp>
              <p:nvSpPr>
                <p:cNvPr id="50" name="Google Shape;50;p6"/>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8F593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1" name="Google Shape;51;p6"/>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8F593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 name="Google Shape;52;p6"/>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8F593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 name="Google Shape;53;p6"/>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8F593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6"/>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8F593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6"/>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8F593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nvGrpSpPr>
            <p:cNvPr id="56" name="Google Shape;56;p6"/>
            <p:cNvGrpSpPr/>
            <p:nvPr/>
          </p:nvGrpSpPr>
          <p:grpSpPr>
            <a:xfrm>
              <a:off x="4963149" y="3412070"/>
              <a:ext cx="2449385" cy="3446096"/>
              <a:chOff x="-4553270" y="133869"/>
              <a:chExt cx="4680652" cy="6585317"/>
            </a:xfrm>
          </p:grpSpPr>
          <p:sp>
            <p:nvSpPr>
              <p:cNvPr id="57" name="Google Shape;57;p6"/>
              <p:cNvSpPr/>
              <p:nvPr/>
            </p:nvSpPr>
            <p:spPr>
              <a:xfrm>
                <a:off x="-3843866" y="237067"/>
                <a:ext cx="3869267" cy="6172200"/>
              </a:xfrm>
              <a:custGeom>
                <a:avLst/>
                <a:gdLst/>
                <a:ahLst/>
                <a:cxnLst/>
                <a:rect l="l" t="t" r="r" b="b"/>
                <a:pathLst>
                  <a:path w="3869267" h="6172200" extrusionOk="0">
                    <a:moveTo>
                      <a:pt x="313267" y="922866"/>
                    </a:moveTo>
                    <a:lnTo>
                      <a:pt x="651934" y="745066"/>
                    </a:lnTo>
                    <a:lnTo>
                      <a:pt x="1143000" y="0"/>
                    </a:lnTo>
                    <a:lnTo>
                      <a:pt x="2116667" y="524933"/>
                    </a:lnTo>
                    <a:lnTo>
                      <a:pt x="2624667" y="770466"/>
                    </a:lnTo>
                    <a:lnTo>
                      <a:pt x="2540000" y="905933"/>
                    </a:lnTo>
                    <a:lnTo>
                      <a:pt x="3285067" y="1676400"/>
                    </a:lnTo>
                    <a:lnTo>
                      <a:pt x="3869267" y="2319866"/>
                    </a:lnTo>
                    <a:lnTo>
                      <a:pt x="3344334" y="2683933"/>
                    </a:lnTo>
                    <a:lnTo>
                      <a:pt x="3505200" y="2912533"/>
                    </a:lnTo>
                    <a:lnTo>
                      <a:pt x="3183467" y="4072466"/>
                    </a:lnTo>
                    <a:lnTo>
                      <a:pt x="2641600" y="4665133"/>
                    </a:lnTo>
                    <a:lnTo>
                      <a:pt x="2497667" y="6172200"/>
                    </a:lnTo>
                    <a:lnTo>
                      <a:pt x="1608667" y="6070600"/>
                    </a:lnTo>
                    <a:lnTo>
                      <a:pt x="1168400" y="4241800"/>
                    </a:lnTo>
                    <a:lnTo>
                      <a:pt x="1219200" y="3318933"/>
                    </a:lnTo>
                    <a:lnTo>
                      <a:pt x="0" y="2667000"/>
                    </a:lnTo>
                    <a:lnTo>
                      <a:pt x="152401" y="1269999"/>
                    </a:lnTo>
                  </a:path>
                </a:pathLst>
              </a:custGeom>
              <a:solidFill>
                <a:srgbClr val="31150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grpSp>
            <p:nvGrpSpPr>
              <p:cNvPr id="58" name="Google Shape;58;p6"/>
              <p:cNvGrpSpPr/>
              <p:nvPr/>
            </p:nvGrpSpPr>
            <p:grpSpPr>
              <a:xfrm>
                <a:off x="-4553270" y="133869"/>
                <a:ext cx="4680652" cy="6585317"/>
                <a:chOff x="7139197" y="345537"/>
                <a:chExt cx="4680652" cy="6585317"/>
              </a:xfrm>
            </p:grpSpPr>
            <p:sp>
              <p:nvSpPr>
                <p:cNvPr id="59" name="Google Shape;59;p6"/>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52220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0" name="Google Shape;60;p6"/>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52220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 name="Google Shape;61;p6"/>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52220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 name="Google Shape;62;p6"/>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52220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3" name="Google Shape;63;p6"/>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52220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4" name="Google Shape;64;p6"/>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52220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nvGrpSpPr>
            <p:cNvPr id="65" name="Google Shape;65;p6"/>
            <p:cNvGrpSpPr/>
            <p:nvPr/>
          </p:nvGrpSpPr>
          <p:grpSpPr>
            <a:xfrm>
              <a:off x="7308755" y="4224860"/>
              <a:ext cx="1871325" cy="2632810"/>
              <a:chOff x="-4553270" y="133869"/>
              <a:chExt cx="4680652" cy="6585317"/>
            </a:xfrm>
          </p:grpSpPr>
          <p:sp>
            <p:nvSpPr>
              <p:cNvPr id="66" name="Google Shape;66;p6"/>
              <p:cNvSpPr/>
              <p:nvPr/>
            </p:nvSpPr>
            <p:spPr>
              <a:xfrm>
                <a:off x="-3843866" y="237067"/>
                <a:ext cx="3869267" cy="6172200"/>
              </a:xfrm>
              <a:custGeom>
                <a:avLst/>
                <a:gdLst/>
                <a:ahLst/>
                <a:cxnLst/>
                <a:rect l="l" t="t" r="r" b="b"/>
                <a:pathLst>
                  <a:path w="3869267" h="6172200" extrusionOk="0">
                    <a:moveTo>
                      <a:pt x="313267" y="922866"/>
                    </a:moveTo>
                    <a:lnTo>
                      <a:pt x="651934" y="745066"/>
                    </a:lnTo>
                    <a:lnTo>
                      <a:pt x="1143000" y="0"/>
                    </a:lnTo>
                    <a:lnTo>
                      <a:pt x="2116667" y="524933"/>
                    </a:lnTo>
                    <a:lnTo>
                      <a:pt x="2624667" y="770466"/>
                    </a:lnTo>
                    <a:lnTo>
                      <a:pt x="2540000" y="905933"/>
                    </a:lnTo>
                    <a:lnTo>
                      <a:pt x="3285067" y="1676400"/>
                    </a:lnTo>
                    <a:lnTo>
                      <a:pt x="3869267" y="2319866"/>
                    </a:lnTo>
                    <a:lnTo>
                      <a:pt x="3344334" y="2683933"/>
                    </a:lnTo>
                    <a:lnTo>
                      <a:pt x="3505200" y="2912533"/>
                    </a:lnTo>
                    <a:lnTo>
                      <a:pt x="3183467" y="4072466"/>
                    </a:lnTo>
                    <a:lnTo>
                      <a:pt x="2641600" y="4665133"/>
                    </a:lnTo>
                    <a:lnTo>
                      <a:pt x="2497667" y="6172200"/>
                    </a:lnTo>
                    <a:lnTo>
                      <a:pt x="1608667" y="6070600"/>
                    </a:lnTo>
                    <a:lnTo>
                      <a:pt x="1168400" y="4241800"/>
                    </a:lnTo>
                    <a:lnTo>
                      <a:pt x="1219200" y="3318933"/>
                    </a:lnTo>
                    <a:lnTo>
                      <a:pt x="0" y="2667000"/>
                    </a:lnTo>
                    <a:lnTo>
                      <a:pt x="152401" y="1269999"/>
                    </a:lnTo>
                  </a:path>
                </a:pathLst>
              </a:custGeom>
              <a:solidFill>
                <a:srgbClr val="5B280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grpSp>
            <p:nvGrpSpPr>
              <p:cNvPr id="67" name="Google Shape;67;p6"/>
              <p:cNvGrpSpPr/>
              <p:nvPr/>
            </p:nvGrpSpPr>
            <p:grpSpPr>
              <a:xfrm>
                <a:off x="-4553270" y="133869"/>
                <a:ext cx="4680652" cy="6585317"/>
                <a:chOff x="7139197" y="345537"/>
                <a:chExt cx="4680652" cy="6585317"/>
              </a:xfrm>
            </p:grpSpPr>
            <p:sp>
              <p:nvSpPr>
                <p:cNvPr id="68" name="Google Shape;68;p6"/>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75391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6"/>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75391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 name="Google Shape;70;p6"/>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75391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 name="Google Shape;71;p6"/>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75391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2" name="Google Shape;72;p6"/>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75391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6"/>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75391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nvGrpSpPr>
            <p:cNvPr id="74" name="Google Shape;74;p6"/>
            <p:cNvGrpSpPr/>
            <p:nvPr/>
          </p:nvGrpSpPr>
          <p:grpSpPr>
            <a:xfrm>
              <a:off x="9145872" y="4978441"/>
              <a:ext cx="1335858" cy="1879449"/>
              <a:chOff x="-4553270" y="133869"/>
              <a:chExt cx="4680652" cy="6585317"/>
            </a:xfrm>
          </p:grpSpPr>
          <p:sp>
            <p:nvSpPr>
              <p:cNvPr id="75" name="Google Shape;75;p6"/>
              <p:cNvSpPr/>
              <p:nvPr/>
            </p:nvSpPr>
            <p:spPr>
              <a:xfrm>
                <a:off x="-3843866" y="237067"/>
                <a:ext cx="3869267" cy="6172200"/>
              </a:xfrm>
              <a:custGeom>
                <a:avLst/>
                <a:gdLst/>
                <a:ahLst/>
                <a:cxnLst/>
                <a:rect l="l" t="t" r="r" b="b"/>
                <a:pathLst>
                  <a:path w="3869267" h="6172200" extrusionOk="0">
                    <a:moveTo>
                      <a:pt x="313267" y="922866"/>
                    </a:moveTo>
                    <a:lnTo>
                      <a:pt x="651934" y="745066"/>
                    </a:lnTo>
                    <a:lnTo>
                      <a:pt x="1143000" y="0"/>
                    </a:lnTo>
                    <a:lnTo>
                      <a:pt x="2116667" y="524933"/>
                    </a:lnTo>
                    <a:lnTo>
                      <a:pt x="2624667" y="770466"/>
                    </a:lnTo>
                    <a:lnTo>
                      <a:pt x="2540000" y="905933"/>
                    </a:lnTo>
                    <a:lnTo>
                      <a:pt x="3285067" y="1676400"/>
                    </a:lnTo>
                    <a:lnTo>
                      <a:pt x="3869267" y="2319866"/>
                    </a:lnTo>
                    <a:lnTo>
                      <a:pt x="3344334" y="2683933"/>
                    </a:lnTo>
                    <a:lnTo>
                      <a:pt x="3505200" y="2912533"/>
                    </a:lnTo>
                    <a:lnTo>
                      <a:pt x="3183467" y="4072466"/>
                    </a:lnTo>
                    <a:lnTo>
                      <a:pt x="2641600" y="4665133"/>
                    </a:lnTo>
                    <a:lnTo>
                      <a:pt x="2497667" y="6172200"/>
                    </a:lnTo>
                    <a:lnTo>
                      <a:pt x="1608667" y="6070600"/>
                    </a:lnTo>
                    <a:lnTo>
                      <a:pt x="1168400" y="4241800"/>
                    </a:lnTo>
                    <a:lnTo>
                      <a:pt x="1219200" y="3318933"/>
                    </a:lnTo>
                    <a:lnTo>
                      <a:pt x="0" y="2667000"/>
                    </a:lnTo>
                    <a:lnTo>
                      <a:pt x="152401" y="1269999"/>
                    </a:lnTo>
                  </a:path>
                </a:pathLst>
              </a:custGeom>
              <a:solidFill>
                <a:srgbClr val="B0794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grpSp>
            <p:nvGrpSpPr>
              <p:cNvPr id="76" name="Google Shape;76;p6"/>
              <p:cNvGrpSpPr/>
              <p:nvPr/>
            </p:nvGrpSpPr>
            <p:grpSpPr>
              <a:xfrm>
                <a:off x="-4553270" y="133869"/>
                <a:ext cx="4680652" cy="6585317"/>
                <a:chOff x="7139197" y="345537"/>
                <a:chExt cx="4680652" cy="6585317"/>
              </a:xfrm>
            </p:grpSpPr>
            <p:sp>
              <p:nvSpPr>
                <p:cNvPr id="77" name="Google Shape;77;p6"/>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DE996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8" name="Google Shape;78;p6"/>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DE996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9" name="Google Shape;79;p6"/>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DE996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0" name="Google Shape;80;p6"/>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DE996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1" name="Google Shape;81;p6"/>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DE996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2" name="Google Shape;82;p6"/>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DE996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spTree>
    <p:extLst>
      <p:ext uri="{BB962C8B-B14F-4D97-AF65-F5344CB8AC3E}">
        <p14:creationId xmlns:p14="http://schemas.microsoft.com/office/powerpoint/2010/main" val="36752529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004 Section Title">
  <p:cSld name="004 Section Title">
    <p:spTree>
      <p:nvGrpSpPr>
        <p:cNvPr id="1" name="Shape 83"/>
        <p:cNvGrpSpPr/>
        <p:nvPr/>
      </p:nvGrpSpPr>
      <p:grpSpPr>
        <a:xfrm>
          <a:off x="0" y="0"/>
          <a:ext cx="0" cy="0"/>
          <a:chOff x="0" y="0"/>
          <a:chExt cx="0" cy="0"/>
        </a:xfrm>
      </p:grpSpPr>
      <p:sp>
        <p:nvSpPr>
          <p:cNvPr id="84" name="Google Shape;84;p7"/>
          <p:cNvSpPr txBox="1">
            <a:spLocks noGrp="1"/>
          </p:cNvSpPr>
          <p:nvPr>
            <p:ph type="title"/>
          </p:nvPr>
        </p:nvSpPr>
        <p:spPr>
          <a:xfrm>
            <a:off x="481867" y="965000"/>
            <a:ext cx="3653700" cy="4678800"/>
          </a:xfrm>
          <a:prstGeom prst="rect">
            <a:avLst/>
          </a:prstGeom>
        </p:spPr>
        <p:txBody>
          <a:bodyPr spcFirstLastPara="1" wrap="square" lIns="121900" tIns="121900" rIns="121900" bIns="121900" anchor="ctr" anchorCtr="0">
            <a:noAutofit/>
          </a:bodyPr>
          <a:lstStyle>
            <a:lvl1pPr lvl="0" algn="ctr" rtl="0">
              <a:spcBef>
                <a:spcPts val="0"/>
              </a:spcBef>
              <a:spcAft>
                <a:spcPts val="0"/>
              </a:spcAft>
              <a:buSzPts val="15000"/>
              <a:buNone/>
              <a:defRPr sz="15000"/>
            </a:lvl1pPr>
            <a:lvl2pPr lvl="1" algn="r" rtl="0">
              <a:spcBef>
                <a:spcPts val="0"/>
              </a:spcBef>
              <a:spcAft>
                <a:spcPts val="0"/>
              </a:spcAft>
              <a:buSzPts val="15000"/>
              <a:buNone/>
              <a:defRPr sz="15000"/>
            </a:lvl2pPr>
            <a:lvl3pPr lvl="2" algn="r" rtl="0">
              <a:spcBef>
                <a:spcPts val="0"/>
              </a:spcBef>
              <a:spcAft>
                <a:spcPts val="0"/>
              </a:spcAft>
              <a:buSzPts val="15000"/>
              <a:buNone/>
              <a:defRPr sz="15000"/>
            </a:lvl3pPr>
            <a:lvl4pPr lvl="3" algn="r" rtl="0">
              <a:spcBef>
                <a:spcPts val="0"/>
              </a:spcBef>
              <a:spcAft>
                <a:spcPts val="0"/>
              </a:spcAft>
              <a:buSzPts val="15000"/>
              <a:buNone/>
              <a:defRPr sz="15000"/>
            </a:lvl4pPr>
            <a:lvl5pPr lvl="4" algn="r" rtl="0">
              <a:spcBef>
                <a:spcPts val="0"/>
              </a:spcBef>
              <a:spcAft>
                <a:spcPts val="0"/>
              </a:spcAft>
              <a:buSzPts val="15000"/>
              <a:buNone/>
              <a:defRPr sz="15000"/>
            </a:lvl5pPr>
            <a:lvl6pPr lvl="5" algn="r" rtl="0">
              <a:spcBef>
                <a:spcPts val="0"/>
              </a:spcBef>
              <a:spcAft>
                <a:spcPts val="0"/>
              </a:spcAft>
              <a:buSzPts val="15000"/>
              <a:buNone/>
              <a:defRPr sz="15000"/>
            </a:lvl6pPr>
            <a:lvl7pPr lvl="6" algn="r" rtl="0">
              <a:spcBef>
                <a:spcPts val="0"/>
              </a:spcBef>
              <a:spcAft>
                <a:spcPts val="0"/>
              </a:spcAft>
              <a:buSzPts val="15000"/>
              <a:buNone/>
              <a:defRPr sz="15000"/>
            </a:lvl7pPr>
            <a:lvl8pPr lvl="7" algn="r" rtl="0">
              <a:spcBef>
                <a:spcPts val="0"/>
              </a:spcBef>
              <a:spcAft>
                <a:spcPts val="0"/>
              </a:spcAft>
              <a:buSzPts val="15000"/>
              <a:buNone/>
              <a:defRPr sz="15000"/>
            </a:lvl8pPr>
            <a:lvl9pPr lvl="8" algn="r" rtl="0">
              <a:spcBef>
                <a:spcPts val="0"/>
              </a:spcBef>
              <a:spcAft>
                <a:spcPts val="0"/>
              </a:spcAft>
              <a:buSzPts val="15000"/>
              <a:buNone/>
              <a:defRPr sz="15000"/>
            </a:lvl9pPr>
          </a:lstStyle>
          <a:p>
            <a:endParaRPr/>
          </a:p>
        </p:txBody>
      </p:sp>
      <p:sp>
        <p:nvSpPr>
          <p:cNvPr id="85" name="Google Shape;85;p7"/>
          <p:cNvSpPr txBox="1">
            <a:spLocks noGrp="1"/>
          </p:cNvSpPr>
          <p:nvPr>
            <p:ph type="subTitle" idx="1"/>
          </p:nvPr>
        </p:nvSpPr>
        <p:spPr>
          <a:xfrm>
            <a:off x="4406700" y="2031800"/>
            <a:ext cx="68319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3600"/>
              <a:buFont typeface="Anton"/>
              <a:buNone/>
              <a:defRPr sz="3600">
                <a:latin typeface="Anton"/>
                <a:ea typeface="Anton"/>
                <a:cs typeface="Anton"/>
                <a:sym typeface="Anton"/>
              </a:defRPr>
            </a:lvl1pPr>
            <a:lvl2pPr lvl="1" rtl="0">
              <a:spcBef>
                <a:spcPts val="2100"/>
              </a:spcBef>
              <a:spcAft>
                <a:spcPts val="0"/>
              </a:spcAft>
              <a:buSzPts val="3600"/>
              <a:buNone/>
              <a:defRPr sz="3600" b="1"/>
            </a:lvl2pPr>
            <a:lvl3pPr lvl="2" rtl="0">
              <a:spcBef>
                <a:spcPts val="2100"/>
              </a:spcBef>
              <a:spcAft>
                <a:spcPts val="0"/>
              </a:spcAft>
              <a:buSzPts val="3600"/>
              <a:buNone/>
              <a:defRPr sz="3600" b="1"/>
            </a:lvl3pPr>
            <a:lvl4pPr lvl="3" rtl="0">
              <a:spcBef>
                <a:spcPts val="2100"/>
              </a:spcBef>
              <a:spcAft>
                <a:spcPts val="0"/>
              </a:spcAft>
              <a:buSzPts val="3600"/>
              <a:buNone/>
              <a:defRPr sz="3600" b="1"/>
            </a:lvl4pPr>
            <a:lvl5pPr lvl="4" rtl="0">
              <a:spcBef>
                <a:spcPts val="2100"/>
              </a:spcBef>
              <a:spcAft>
                <a:spcPts val="0"/>
              </a:spcAft>
              <a:buSzPts val="3600"/>
              <a:buNone/>
              <a:defRPr sz="3600" b="1"/>
            </a:lvl5pPr>
            <a:lvl6pPr lvl="5" rtl="0">
              <a:spcBef>
                <a:spcPts val="2100"/>
              </a:spcBef>
              <a:spcAft>
                <a:spcPts val="0"/>
              </a:spcAft>
              <a:buSzPts val="3600"/>
              <a:buNone/>
              <a:defRPr sz="3600" b="1"/>
            </a:lvl6pPr>
            <a:lvl7pPr lvl="6" rtl="0">
              <a:spcBef>
                <a:spcPts val="2100"/>
              </a:spcBef>
              <a:spcAft>
                <a:spcPts val="0"/>
              </a:spcAft>
              <a:buSzPts val="3600"/>
              <a:buNone/>
              <a:defRPr sz="3600" b="1"/>
            </a:lvl7pPr>
            <a:lvl8pPr lvl="7" rtl="0">
              <a:spcBef>
                <a:spcPts val="2100"/>
              </a:spcBef>
              <a:spcAft>
                <a:spcPts val="0"/>
              </a:spcAft>
              <a:buSzPts val="3600"/>
              <a:buNone/>
              <a:defRPr sz="3600" b="1"/>
            </a:lvl8pPr>
            <a:lvl9pPr lvl="8" rtl="0">
              <a:spcBef>
                <a:spcPts val="2100"/>
              </a:spcBef>
              <a:spcAft>
                <a:spcPts val="2100"/>
              </a:spcAft>
              <a:buSzPts val="3600"/>
              <a:buNone/>
              <a:defRPr sz="3600" b="1"/>
            </a:lvl9pPr>
          </a:lstStyle>
          <a:p>
            <a:endParaRPr/>
          </a:p>
        </p:txBody>
      </p:sp>
      <p:sp>
        <p:nvSpPr>
          <p:cNvPr id="86" name="Google Shape;86;p7"/>
          <p:cNvSpPr txBox="1">
            <a:spLocks noGrp="1"/>
          </p:cNvSpPr>
          <p:nvPr>
            <p:ph type="body" idx="2"/>
          </p:nvPr>
        </p:nvSpPr>
        <p:spPr>
          <a:xfrm>
            <a:off x="4386975" y="2965625"/>
            <a:ext cx="6820500" cy="2075100"/>
          </a:xfrm>
          <a:prstGeom prst="rect">
            <a:avLst/>
          </a:prstGeom>
        </p:spPr>
        <p:txBody>
          <a:bodyPr spcFirstLastPara="1" wrap="square" lIns="121900" tIns="121900" rIns="121900" bIns="121900" anchor="ctr" anchorCtr="0">
            <a:noAutofit/>
          </a:bodyPr>
          <a:lstStyle>
            <a:lvl1pPr marL="457200" lvl="0" indent="-368300">
              <a:spcBef>
                <a:spcPts val="0"/>
              </a:spcBef>
              <a:spcAft>
                <a:spcPts val="0"/>
              </a:spcAft>
              <a:buSzPts val="2200"/>
              <a:buChar char="●"/>
              <a:defRPr/>
            </a:lvl1pPr>
            <a:lvl2pPr marL="914400" lvl="1" indent="-368300">
              <a:spcBef>
                <a:spcPts val="2100"/>
              </a:spcBef>
              <a:spcAft>
                <a:spcPts val="0"/>
              </a:spcAft>
              <a:buSzPts val="2200"/>
              <a:buChar char="○"/>
              <a:defRPr/>
            </a:lvl2pPr>
            <a:lvl3pPr marL="1371600" lvl="2" indent="-368300">
              <a:spcBef>
                <a:spcPts val="2100"/>
              </a:spcBef>
              <a:spcAft>
                <a:spcPts val="0"/>
              </a:spcAft>
              <a:buSzPts val="2200"/>
              <a:buChar char="■"/>
              <a:defRPr/>
            </a:lvl3pPr>
            <a:lvl4pPr marL="1828800" lvl="3" indent="-368300">
              <a:spcBef>
                <a:spcPts val="2100"/>
              </a:spcBef>
              <a:spcAft>
                <a:spcPts val="0"/>
              </a:spcAft>
              <a:buSzPts val="2200"/>
              <a:buChar char="●"/>
              <a:defRPr/>
            </a:lvl4pPr>
            <a:lvl5pPr marL="2286000" lvl="4" indent="-368300">
              <a:spcBef>
                <a:spcPts val="2100"/>
              </a:spcBef>
              <a:spcAft>
                <a:spcPts val="0"/>
              </a:spcAft>
              <a:buSzPts val="2200"/>
              <a:buChar char="○"/>
              <a:defRPr/>
            </a:lvl5pPr>
            <a:lvl6pPr marL="2743200" lvl="5" indent="-368300">
              <a:spcBef>
                <a:spcPts val="2100"/>
              </a:spcBef>
              <a:spcAft>
                <a:spcPts val="0"/>
              </a:spcAft>
              <a:buSzPts val="2200"/>
              <a:buChar char="■"/>
              <a:defRPr/>
            </a:lvl6pPr>
            <a:lvl7pPr marL="3200400" lvl="6" indent="-368300">
              <a:spcBef>
                <a:spcPts val="2100"/>
              </a:spcBef>
              <a:spcAft>
                <a:spcPts val="0"/>
              </a:spcAft>
              <a:buSzPts val="2200"/>
              <a:buChar char="●"/>
              <a:defRPr/>
            </a:lvl7pPr>
            <a:lvl8pPr marL="3657600" lvl="7" indent="-368300">
              <a:spcBef>
                <a:spcPts val="2100"/>
              </a:spcBef>
              <a:spcAft>
                <a:spcPts val="0"/>
              </a:spcAft>
              <a:buSzPts val="2200"/>
              <a:buChar char="○"/>
              <a:defRPr/>
            </a:lvl8pPr>
            <a:lvl9pPr marL="4114800" lvl="8" indent="-368300">
              <a:spcBef>
                <a:spcPts val="2100"/>
              </a:spcBef>
              <a:spcAft>
                <a:spcPts val="2100"/>
              </a:spcAft>
              <a:buSzPts val="2200"/>
              <a:buChar char="■"/>
              <a:defRPr/>
            </a:lvl9pPr>
          </a:lstStyle>
          <a:p>
            <a:endParaRPr/>
          </a:p>
        </p:txBody>
      </p:sp>
      <p:sp>
        <p:nvSpPr>
          <p:cNvPr id="87" name="Google Shape;87;p7"/>
          <p:cNvSpPr/>
          <p:nvPr/>
        </p:nvSpPr>
        <p:spPr>
          <a:xfrm rot="4582876">
            <a:off x="1445835" y="574064"/>
            <a:ext cx="1866649" cy="407354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8" name="Google Shape;88;p7"/>
          <p:cNvSpPr/>
          <p:nvPr/>
        </p:nvSpPr>
        <p:spPr>
          <a:xfrm rot="-578308">
            <a:off x="45777" y="2956628"/>
            <a:ext cx="4697064" cy="1324437"/>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7"/>
          <p:cNvSpPr/>
          <p:nvPr/>
        </p:nvSpPr>
        <p:spPr>
          <a:xfrm rot="4582793">
            <a:off x="1822766" y="2390604"/>
            <a:ext cx="1495756" cy="407354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568409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006 Two columns">
  <p:cSld name="006 Two columns">
    <p:spTree>
      <p:nvGrpSpPr>
        <p:cNvPr id="1" name="Shape 90"/>
        <p:cNvGrpSpPr/>
        <p:nvPr/>
      </p:nvGrpSpPr>
      <p:grpSpPr>
        <a:xfrm>
          <a:off x="0" y="0"/>
          <a:ext cx="0" cy="0"/>
          <a:chOff x="0" y="0"/>
          <a:chExt cx="0" cy="0"/>
        </a:xfrm>
      </p:grpSpPr>
      <p:sp>
        <p:nvSpPr>
          <p:cNvPr id="91" name="Google Shape;91;p8"/>
          <p:cNvSpPr/>
          <p:nvPr/>
        </p:nvSpPr>
        <p:spPr>
          <a:xfrm>
            <a:off x="818550" y="-2288300"/>
            <a:ext cx="11359894" cy="12222405"/>
          </a:xfrm>
          <a:custGeom>
            <a:avLst/>
            <a:gdLst/>
            <a:ahLst/>
            <a:cxnLst/>
            <a:rect l="l" t="t" r="r" b="b"/>
            <a:pathLst>
              <a:path w="3758443" h="4448555" extrusionOk="0">
                <a:moveTo>
                  <a:pt x="2298026" y="4165808"/>
                </a:moveTo>
                <a:lnTo>
                  <a:pt x="2298025" y="4165808"/>
                </a:lnTo>
                <a:lnTo>
                  <a:pt x="2287742" y="4185155"/>
                </a:lnTo>
                <a:lnTo>
                  <a:pt x="2287743" y="4185154"/>
                </a:lnTo>
                <a:close/>
                <a:moveTo>
                  <a:pt x="2257680" y="4115103"/>
                </a:moveTo>
                <a:lnTo>
                  <a:pt x="2235682" y="4144083"/>
                </a:lnTo>
                <a:lnTo>
                  <a:pt x="2235682" y="4144083"/>
                </a:lnTo>
                <a:close/>
                <a:moveTo>
                  <a:pt x="2317116" y="4068185"/>
                </a:moveTo>
                <a:lnTo>
                  <a:pt x="2293656" y="4080541"/>
                </a:lnTo>
                <a:lnTo>
                  <a:pt x="2265055" y="4105387"/>
                </a:lnTo>
                <a:lnTo>
                  <a:pt x="2265054" y="4105388"/>
                </a:lnTo>
                <a:lnTo>
                  <a:pt x="2293655" y="4080542"/>
                </a:lnTo>
                <a:lnTo>
                  <a:pt x="2317114" y="4068187"/>
                </a:lnTo>
                <a:lnTo>
                  <a:pt x="2338388" y="4087535"/>
                </a:lnTo>
                <a:lnTo>
                  <a:pt x="2353750" y="4106136"/>
                </a:lnTo>
                <a:lnTo>
                  <a:pt x="2336203" y="4136345"/>
                </a:lnTo>
                <a:lnTo>
                  <a:pt x="2326627" y="4156507"/>
                </a:lnTo>
                <a:lnTo>
                  <a:pt x="2326628" y="4156506"/>
                </a:lnTo>
                <a:lnTo>
                  <a:pt x="2336205" y="4136344"/>
                </a:lnTo>
                <a:lnTo>
                  <a:pt x="2353752" y="4106134"/>
                </a:lnTo>
                <a:lnTo>
                  <a:pt x="2338390" y="4087533"/>
                </a:lnTo>
                <a:close/>
                <a:moveTo>
                  <a:pt x="2433000" y="3929506"/>
                </a:moveTo>
                <a:lnTo>
                  <a:pt x="2431522" y="3951216"/>
                </a:lnTo>
                <a:lnTo>
                  <a:pt x="2459365" y="3985232"/>
                </a:lnTo>
                <a:lnTo>
                  <a:pt x="2432293" y="3951218"/>
                </a:lnTo>
                <a:close/>
                <a:moveTo>
                  <a:pt x="1938610" y="3897724"/>
                </a:moveTo>
                <a:lnTo>
                  <a:pt x="1931991" y="3934924"/>
                </a:lnTo>
                <a:lnTo>
                  <a:pt x="1931991" y="3934924"/>
                </a:lnTo>
                <a:lnTo>
                  <a:pt x="1938610" y="3897724"/>
                </a:lnTo>
                <a:close/>
                <a:moveTo>
                  <a:pt x="2493091" y="3896128"/>
                </a:moveTo>
                <a:lnTo>
                  <a:pt x="2493159" y="3896161"/>
                </a:lnTo>
                <a:lnTo>
                  <a:pt x="2493159" y="3896160"/>
                </a:lnTo>
                <a:close/>
                <a:moveTo>
                  <a:pt x="2468222" y="3884551"/>
                </a:moveTo>
                <a:lnTo>
                  <a:pt x="2453568" y="3889236"/>
                </a:lnTo>
                <a:lnTo>
                  <a:pt x="2447655" y="3906275"/>
                </a:lnTo>
                <a:lnTo>
                  <a:pt x="2433001" y="3929493"/>
                </a:lnTo>
                <a:lnTo>
                  <a:pt x="2447655" y="3906276"/>
                </a:lnTo>
                <a:lnTo>
                  <a:pt x="2454275" y="3889236"/>
                </a:lnTo>
                <a:lnTo>
                  <a:pt x="2468511" y="3884686"/>
                </a:lnTo>
                <a:close/>
                <a:moveTo>
                  <a:pt x="2445467" y="3668400"/>
                </a:moveTo>
                <a:lnTo>
                  <a:pt x="2445430" y="3668417"/>
                </a:lnTo>
                <a:lnTo>
                  <a:pt x="2445468" y="3668400"/>
                </a:lnTo>
                <a:close/>
                <a:moveTo>
                  <a:pt x="2404474" y="3665312"/>
                </a:moveTo>
                <a:lnTo>
                  <a:pt x="2427859" y="3676139"/>
                </a:lnTo>
                <a:lnTo>
                  <a:pt x="2428246" y="3675969"/>
                </a:lnTo>
                <a:close/>
                <a:moveTo>
                  <a:pt x="1953265" y="3648237"/>
                </a:moveTo>
                <a:lnTo>
                  <a:pt x="1903389" y="3649798"/>
                </a:lnTo>
                <a:lnTo>
                  <a:pt x="1898311" y="3828748"/>
                </a:lnTo>
                <a:lnTo>
                  <a:pt x="1888027" y="4057323"/>
                </a:lnTo>
                <a:lnTo>
                  <a:pt x="1842522" y="4088347"/>
                </a:lnTo>
                <a:lnTo>
                  <a:pt x="1815399" y="4093710"/>
                </a:lnTo>
                <a:lnTo>
                  <a:pt x="1785319" y="4082102"/>
                </a:lnTo>
                <a:lnTo>
                  <a:pt x="1763337" y="4076671"/>
                </a:lnTo>
                <a:lnTo>
                  <a:pt x="1763337" y="4076671"/>
                </a:lnTo>
                <a:lnTo>
                  <a:pt x="1785319" y="4082102"/>
                </a:lnTo>
                <a:lnTo>
                  <a:pt x="1815399" y="4093711"/>
                </a:lnTo>
                <a:lnTo>
                  <a:pt x="1842522" y="4088348"/>
                </a:lnTo>
                <a:lnTo>
                  <a:pt x="1888028" y="4057323"/>
                </a:lnTo>
                <a:lnTo>
                  <a:pt x="1898311" y="3828751"/>
                </a:lnTo>
                <a:lnTo>
                  <a:pt x="1898311" y="3828751"/>
                </a:lnTo>
                <a:lnTo>
                  <a:pt x="1904160" y="3649801"/>
                </a:lnTo>
                <a:lnTo>
                  <a:pt x="1953265" y="3648240"/>
                </a:lnTo>
                <a:close/>
                <a:moveTo>
                  <a:pt x="2314929" y="3627329"/>
                </a:moveTo>
                <a:lnTo>
                  <a:pt x="2314930" y="3627331"/>
                </a:lnTo>
                <a:lnTo>
                  <a:pt x="2353044" y="3636631"/>
                </a:lnTo>
                <a:lnTo>
                  <a:pt x="2384602" y="3664533"/>
                </a:lnTo>
                <a:lnTo>
                  <a:pt x="2384563" y="3664557"/>
                </a:lnTo>
                <a:lnTo>
                  <a:pt x="2404332" y="3665275"/>
                </a:lnTo>
                <a:lnTo>
                  <a:pt x="2384600" y="3664531"/>
                </a:lnTo>
                <a:lnTo>
                  <a:pt x="2353042" y="3636629"/>
                </a:lnTo>
                <a:close/>
                <a:moveTo>
                  <a:pt x="2301665" y="3566902"/>
                </a:moveTo>
                <a:lnTo>
                  <a:pt x="2301026" y="3586481"/>
                </a:lnTo>
                <a:lnTo>
                  <a:pt x="2301688" y="3566910"/>
                </a:lnTo>
                <a:close/>
                <a:moveTo>
                  <a:pt x="2280414" y="3559918"/>
                </a:moveTo>
                <a:lnTo>
                  <a:pt x="2280415" y="3559919"/>
                </a:lnTo>
                <a:lnTo>
                  <a:pt x="2280440" y="3559926"/>
                </a:lnTo>
                <a:close/>
                <a:moveTo>
                  <a:pt x="2551856" y="3499345"/>
                </a:moveTo>
                <a:lnTo>
                  <a:pt x="2551839" y="3499498"/>
                </a:lnTo>
                <a:lnTo>
                  <a:pt x="2559166" y="3518099"/>
                </a:lnTo>
                <a:lnTo>
                  <a:pt x="2551839" y="3553740"/>
                </a:lnTo>
                <a:lnTo>
                  <a:pt x="2543740" y="3559917"/>
                </a:lnTo>
                <a:lnTo>
                  <a:pt x="2529086" y="3604112"/>
                </a:lnTo>
                <a:lnTo>
                  <a:pt x="2528842" y="3604413"/>
                </a:lnTo>
                <a:lnTo>
                  <a:pt x="2529088" y="3604113"/>
                </a:lnTo>
                <a:lnTo>
                  <a:pt x="2543743" y="3559919"/>
                </a:lnTo>
                <a:lnTo>
                  <a:pt x="2551841" y="3553741"/>
                </a:lnTo>
                <a:lnTo>
                  <a:pt x="2559168" y="3518100"/>
                </a:lnTo>
                <a:lnTo>
                  <a:pt x="2551841" y="3499499"/>
                </a:lnTo>
                <a:close/>
                <a:moveTo>
                  <a:pt x="2568782" y="3408450"/>
                </a:moveTo>
                <a:lnTo>
                  <a:pt x="2568678" y="3411178"/>
                </a:lnTo>
                <a:lnTo>
                  <a:pt x="2565112" y="3424174"/>
                </a:lnTo>
                <a:lnTo>
                  <a:pt x="2568681" y="3411993"/>
                </a:lnTo>
                <a:close/>
                <a:moveTo>
                  <a:pt x="2240093" y="3402689"/>
                </a:moveTo>
                <a:lnTo>
                  <a:pt x="2240114" y="3402692"/>
                </a:lnTo>
                <a:lnTo>
                  <a:pt x="2256247" y="3409616"/>
                </a:lnTo>
                <a:lnTo>
                  <a:pt x="2256249" y="3409616"/>
                </a:lnTo>
                <a:lnTo>
                  <a:pt x="2240117" y="3402692"/>
                </a:lnTo>
                <a:close/>
                <a:moveTo>
                  <a:pt x="2174108" y="3391082"/>
                </a:moveTo>
                <a:lnTo>
                  <a:pt x="2144735" y="3405745"/>
                </a:lnTo>
                <a:lnTo>
                  <a:pt x="2130081" y="3405745"/>
                </a:lnTo>
                <a:lnTo>
                  <a:pt x="2096337" y="3429777"/>
                </a:lnTo>
                <a:lnTo>
                  <a:pt x="2078019" y="3404999"/>
                </a:lnTo>
                <a:lnTo>
                  <a:pt x="1998770" y="3425908"/>
                </a:lnTo>
                <a:lnTo>
                  <a:pt x="1961363" y="3428216"/>
                </a:lnTo>
                <a:lnTo>
                  <a:pt x="1958686" y="3500962"/>
                </a:lnTo>
                <a:lnTo>
                  <a:pt x="1961363" y="3428218"/>
                </a:lnTo>
                <a:lnTo>
                  <a:pt x="1999477" y="3425910"/>
                </a:lnTo>
                <a:lnTo>
                  <a:pt x="2078019" y="3405001"/>
                </a:lnTo>
                <a:lnTo>
                  <a:pt x="2096337" y="3429780"/>
                </a:lnTo>
                <a:lnTo>
                  <a:pt x="2130080" y="3405748"/>
                </a:lnTo>
                <a:lnTo>
                  <a:pt x="2144734" y="3405748"/>
                </a:lnTo>
                <a:lnTo>
                  <a:pt x="2174107" y="3391084"/>
                </a:lnTo>
                <a:lnTo>
                  <a:pt x="2183620" y="3396447"/>
                </a:lnTo>
                <a:lnTo>
                  <a:pt x="2201139" y="3445004"/>
                </a:lnTo>
                <a:lnTo>
                  <a:pt x="2183894" y="3396477"/>
                </a:lnTo>
                <a:lnTo>
                  <a:pt x="2183620" y="3396446"/>
                </a:lnTo>
                <a:lnTo>
                  <a:pt x="2174108" y="3391083"/>
                </a:lnTo>
                <a:close/>
                <a:moveTo>
                  <a:pt x="1551364" y="3347636"/>
                </a:moveTo>
                <a:lnTo>
                  <a:pt x="1521530" y="3357668"/>
                </a:lnTo>
                <a:lnTo>
                  <a:pt x="1552016" y="3347652"/>
                </a:lnTo>
                <a:close/>
                <a:moveTo>
                  <a:pt x="2722744" y="3282601"/>
                </a:moveTo>
                <a:lnTo>
                  <a:pt x="2699991" y="3294956"/>
                </a:lnTo>
                <a:lnTo>
                  <a:pt x="2682380" y="3339150"/>
                </a:lnTo>
                <a:lnTo>
                  <a:pt x="2682380" y="3339151"/>
                </a:lnTo>
                <a:lnTo>
                  <a:pt x="2699991" y="3295771"/>
                </a:lnTo>
                <a:lnTo>
                  <a:pt x="2722744" y="3282601"/>
                </a:lnTo>
                <a:close/>
                <a:moveTo>
                  <a:pt x="2488018" y="3281040"/>
                </a:moveTo>
                <a:lnTo>
                  <a:pt x="2511475" y="3293462"/>
                </a:lnTo>
                <a:lnTo>
                  <a:pt x="2521759" y="3308940"/>
                </a:lnTo>
                <a:lnTo>
                  <a:pt x="2521761" y="3308941"/>
                </a:lnTo>
                <a:lnTo>
                  <a:pt x="2511477" y="3293463"/>
                </a:lnTo>
                <a:close/>
                <a:moveTo>
                  <a:pt x="2443283" y="3258569"/>
                </a:moveTo>
                <a:lnTo>
                  <a:pt x="2443281" y="3258569"/>
                </a:lnTo>
                <a:lnTo>
                  <a:pt x="2445467" y="3281786"/>
                </a:lnTo>
                <a:lnTo>
                  <a:pt x="2445469" y="3281786"/>
                </a:lnTo>
                <a:lnTo>
                  <a:pt x="2443283" y="3258569"/>
                </a:lnTo>
                <a:close/>
                <a:moveTo>
                  <a:pt x="2649430" y="3256955"/>
                </a:moveTo>
                <a:lnTo>
                  <a:pt x="2649408" y="3257008"/>
                </a:lnTo>
                <a:lnTo>
                  <a:pt x="2650780" y="3299110"/>
                </a:lnTo>
                <a:close/>
                <a:moveTo>
                  <a:pt x="2639124" y="3188102"/>
                </a:moveTo>
                <a:lnTo>
                  <a:pt x="2624469" y="3193465"/>
                </a:lnTo>
                <a:lnTo>
                  <a:pt x="2624470" y="3193466"/>
                </a:lnTo>
                <a:lnTo>
                  <a:pt x="2639124" y="3188103"/>
                </a:lnTo>
                <a:close/>
                <a:moveTo>
                  <a:pt x="2710805" y="3179103"/>
                </a:moveTo>
                <a:lnTo>
                  <a:pt x="2721972" y="3203580"/>
                </a:lnTo>
                <a:lnTo>
                  <a:pt x="2722736" y="3281831"/>
                </a:lnTo>
                <a:lnTo>
                  <a:pt x="2721973" y="3203581"/>
                </a:lnTo>
                <a:close/>
                <a:moveTo>
                  <a:pt x="2597281" y="3164817"/>
                </a:moveTo>
                <a:lnTo>
                  <a:pt x="2440328" y="3215188"/>
                </a:lnTo>
                <a:lnTo>
                  <a:pt x="2440328" y="3215189"/>
                </a:lnTo>
                <a:lnTo>
                  <a:pt x="2597282" y="3164817"/>
                </a:lnTo>
                <a:close/>
                <a:moveTo>
                  <a:pt x="2570369" y="3147910"/>
                </a:moveTo>
                <a:lnTo>
                  <a:pt x="2570160" y="3148591"/>
                </a:lnTo>
                <a:lnTo>
                  <a:pt x="2597224" y="3164780"/>
                </a:lnTo>
                <a:close/>
                <a:moveTo>
                  <a:pt x="2022229" y="3098220"/>
                </a:moveTo>
                <a:lnTo>
                  <a:pt x="2014902" y="3294209"/>
                </a:lnTo>
                <a:lnTo>
                  <a:pt x="2047938" y="3344581"/>
                </a:lnTo>
                <a:lnTo>
                  <a:pt x="2079432" y="3383277"/>
                </a:lnTo>
                <a:lnTo>
                  <a:pt x="1986395" y="3407911"/>
                </a:lnTo>
                <a:lnTo>
                  <a:pt x="2080204" y="3383275"/>
                </a:lnTo>
                <a:lnTo>
                  <a:pt x="2047939" y="3344581"/>
                </a:lnTo>
                <a:lnTo>
                  <a:pt x="2014903" y="3294209"/>
                </a:lnTo>
                <a:lnTo>
                  <a:pt x="2022230" y="3098220"/>
                </a:lnTo>
                <a:close/>
                <a:moveTo>
                  <a:pt x="2415390" y="3053278"/>
                </a:moveTo>
                <a:lnTo>
                  <a:pt x="2415389" y="3053279"/>
                </a:lnTo>
                <a:lnTo>
                  <a:pt x="2418345" y="3119874"/>
                </a:lnTo>
                <a:lnTo>
                  <a:pt x="2378754" y="3119874"/>
                </a:lnTo>
                <a:lnTo>
                  <a:pt x="2378754" y="3119875"/>
                </a:lnTo>
                <a:lnTo>
                  <a:pt x="2418346" y="3119875"/>
                </a:lnTo>
                <a:close/>
                <a:moveTo>
                  <a:pt x="3418821" y="3045540"/>
                </a:moveTo>
                <a:lnTo>
                  <a:pt x="3434953" y="3071880"/>
                </a:lnTo>
                <a:lnTo>
                  <a:pt x="3448129" y="3097406"/>
                </a:lnTo>
                <a:lnTo>
                  <a:pt x="3457706" y="3138477"/>
                </a:lnTo>
                <a:lnTo>
                  <a:pt x="3462077" y="3212881"/>
                </a:lnTo>
                <a:lnTo>
                  <a:pt x="3474545" y="3241529"/>
                </a:lnTo>
                <a:lnTo>
                  <a:pt x="3467218" y="3270992"/>
                </a:lnTo>
                <a:lnTo>
                  <a:pt x="3456935" y="3289593"/>
                </a:lnTo>
                <a:lnTo>
                  <a:pt x="3442280" y="3253138"/>
                </a:lnTo>
                <a:lnTo>
                  <a:pt x="3431290" y="3270992"/>
                </a:lnTo>
                <a:lnTo>
                  <a:pt x="3438617" y="3316680"/>
                </a:lnTo>
                <a:lnTo>
                  <a:pt x="3431997" y="3343020"/>
                </a:lnTo>
                <a:lnTo>
                  <a:pt x="3417342" y="3357752"/>
                </a:lnTo>
                <a:lnTo>
                  <a:pt x="3410015" y="3409617"/>
                </a:lnTo>
                <a:lnTo>
                  <a:pt x="3385077" y="3481713"/>
                </a:lnTo>
                <a:lnTo>
                  <a:pt x="3354998" y="3566911"/>
                </a:lnTo>
                <a:lnTo>
                  <a:pt x="3315405" y="3683133"/>
                </a:lnTo>
                <a:lnTo>
                  <a:pt x="3289696" y="3769146"/>
                </a:lnTo>
                <a:lnTo>
                  <a:pt x="3261866" y="3840427"/>
                </a:lnTo>
                <a:lnTo>
                  <a:pt x="3219317" y="3855090"/>
                </a:lnTo>
                <a:lnTo>
                  <a:pt x="3173812" y="3881430"/>
                </a:lnTo>
                <a:lnTo>
                  <a:pt x="3145981" y="3865205"/>
                </a:lnTo>
                <a:lnTo>
                  <a:pt x="3107803" y="3842735"/>
                </a:lnTo>
                <a:lnTo>
                  <a:pt x="3096813" y="3810964"/>
                </a:lnTo>
                <a:lnTo>
                  <a:pt x="3097520" y="3755161"/>
                </a:lnTo>
                <a:lnTo>
                  <a:pt x="3082865" y="3707165"/>
                </a:lnTo>
                <a:lnTo>
                  <a:pt x="3080680" y="3662224"/>
                </a:lnTo>
                <a:lnTo>
                  <a:pt x="3093149" y="3618030"/>
                </a:lnTo>
                <a:lnTo>
                  <a:pt x="3116609" y="3607236"/>
                </a:lnTo>
                <a:lnTo>
                  <a:pt x="3118794" y="3587073"/>
                </a:lnTo>
                <a:lnTo>
                  <a:pt x="3145210" y="3540571"/>
                </a:lnTo>
                <a:lnTo>
                  <a:pt x="3152537" y="3501061"/>
                </a:lnTo>
                <a:lnTo>
                  <a:pt x="3142318" y="3471598"/>
                </a:lnTo>
                <a:lnTo>
                  <a:pt x="3134927" y="3432902"/>
                </a:lnTo>
                <a:lnTo>
                  <a:pt x="3134220" y="3375538"/>
                </a:lnTo>
                <a:lnTo>
                  <a:pt x="3154787" y="3342273"/>
                </a:lnTo>
                <a:lnTo>
                  <a:pt x="3163592" y="3301949"/>
                </a:lnTo>
                <a:lnTo>
                  <a:pt x="3189237" y="3300387"/>
                </a:lnTo>
                <a:lnTo>
                  <a:pt x="3217839" y="3288032"/>
                </a:lnTo>
                <a:lnTo>
                  <a:pt x="3237635" y="3275609"/>
                </a:lnTo>
                <a:lnTo>
                  <a:pt x="3259681" y="3275609"/>
                </a:lnTo>
                <a:lnTo>
                  <a:pt x="3291174" y="3239968"/>
                </a:lnTo>
                <a:lnTo>
                  <a:pt x="3335201" y="3202019"/>
                </a:lnTo>
                <a:lnTo>
                  <a:pt x="3351334" y="3171063"/>
                </a:lnTo>
                <a:lnTo>
                  <a:pt x="3346192" y="3145470"/>
                </a:lnTo>
                <a:lnTo>
                  <a:pt x="3367467" y="3153209"/>
                </a:lnTo>
                <a:lnTo>
                  <a:pt x="3397546" y="3109082"/>
                </a:lnTo>
                <a:lnTo>
                  <a:pt x="3400503" y="3072627"/>
                </a:lnTo>
                <a:close/>
                <a:moveTo>
                  <a:pt x="2290719" y="3018444"/>
                </a:moveTo>
                <a:lnTo>
                  <a:pt x="2301690" y="3051717"/>
                </a:lnTo>
                <a:lnTo>
                  <a:pt x="2341283" y="3059456"/>
                </a:lnTo>
                <a:lnTo>
                  <a:pt x="2359665" y="3086611"/>
                </a:lnTo>
                <a:lnTo>
                  <a:pt x="2378738" y="3119846"/>
                </a:lnTo>
                <a:lnTo>
                  <a:pt x="2359664" y="3085795"/>
                </a:lnTo>
                <a:lnTo>
                  <a:pt x="2341282" y="3058708"/>
                </a:lnTo>
                <a:lnTo>
                  <a:pt x="2301689" y="3050969"/>
                </a:lnTo>
                <a:close/>
                <a:moveTo>
                  <a:pt x="2290699" y="3018383"/>
                </a:moveTo>
                <a:lnTo>
                  <a:pt x="2259912" y="3037799"/>
                </a:lnTo>
                <a:lnTo>
                  <a:pt x="2218070" y="3029245"/>
                </a:lnTo>
                <a:lnTo>
                  <a:pt x="2218071" y="3029246"/>
                </a:lnTo>
                <a:lnTo>
                  <a:pt x="2259913" y="3037800"/>
                </a:lnTo>
                <a:lnTo>
                  <a:pt x="2290699" y="3018384"/>
                </a:lnTo>
                <a:close/>
                <a:moveTo>
                  <a:pt x="2102185" y="2972696"/>
                </a:moveTo>
                <a:lnTo>
                  <a:pt x="2101943" y="2972771"/>
                </a:lnTo>
                <a:lnTo>
                  <a:pt x="2125645" y="2976566"/>
                </a:lnTo>
                <a:lnTo>
                  <a:pt x="2130080" y="2995914"/>
                </a:lnTo>
                <a:lnTo>
                  <a:pt x="2123459" y="3025377"/>
                </a:lnTo>
                <a:lnTo>
                  <a:pt x="2132265" y="3054025"/>
                </a:lnTo>
                <a:lnTo>
                  <a:pt x="2123459" y="3077310"/>
                </a:lnTo>
                <a:lnTo>
                  <a:pt x="2128601" y="3098966"/>
                </a:lnTo>
                <a:lnTo>
                  <a:pt x="2128602" y="3098966"/>
                </a:lnTo>
                <a:lnTo>
                  <a:pt x="2124168" y="3077310"/>
                </a:lnTo>
                <a:lnTo>
                  <a:pt x="2132266" y="3054025"/>
                </a:lnTo>
                <a:lnTo>
                  <a:pt x="2124168" y="3025377"/>
                </a:lnTo>
                <a:lnTo>
                  <a:pt x="2130081" y="2995914"/>
                </a:lnTo>
                <a:lnTo>
                  <a:pt x="2125646" y="2976566"/>
                </a:lnTo>
                <a:lnTo>
                  <a:pt x="2143257" y="2978128"/>
                </a:lnTo>
                <a:lnTo>
                  <a:pt x="2146213" y="2997475"/>
                </a:lnTo>
                <a:lnTo>
                  <a:pt x="2169673" y="2995914"/>
                </a:lnTo>
                <a:lnTo>
                  <a:pt x="2201938" y="3002160"/>
                </a:lnTo>
                <a:lnTo>
                  <a:pt x="2201937" y="3002159"/>
                </a:lnTo>
                <a:lnTo>
                  <a:pt x="2169672" y="2995913"/>
                </a:lnTo>
                <a:lnTo>
                  <a:pt x="2146212" y="2996728"/>
                </a:lnTo>
                <a:lnTo>
                  <a:pt x="2143256" y="2977312"/>
                </a:lnTo>
                <a:lnTo>
                  <a:pt x="2125645" y="2976565"/>
                </a:lnTo>
                <a:close/>
                <a:moveTo>
                  <a:pt x="2644973" y="2888992"/>
                </a:moveTo>
                <a:lnTo>
                  <a:pt x="2640603" y="2900669"/>
                </a:lnTo>
                <a:lnTo>
                  <a:pt x="2640477" y="2900446"/>
                </a:lnTo>
                <a:lnTo>
                  <a:pt x="2639124" y="2906847"/>
                </a:lnTo>
                <a:lnTo>
                  <a:pt x="2656735" y="2947104"/>
                </a:lnTo>
                <a:lnTo>
                  <a:pt x="2657442" y="3021508"/>
                </a:lnTo>
                <a:lnTo>
                  <a:pt x="2642016" y="3055587"/>
                </a:lnTo>
                <a:lnTo>
                  <a:pt x="2655256" y="3100528"/>
                </a:lnTo>
                <a:lnTo>
                  <a:pt x="2654485" y="3127615"/>
                </a:lnTo>
                <a:lnTo>
                  <a:pt x="2665540" y="3146216"/>
                </a:lnTo>
                <a:lnTo>
                  <a:pt x="2664769" y="3168686"/>
                </a:lnTo>
                <a:lnTo>
                  <a:pt x="2672096" y="3181857"/>
                </a:lnTo>
                <a:lnTo>
                  <a:pt x="2680902" y="3166378"/>
                </a:lnTo>
                <a:lnTo>
                  <a:pt x="2698513" y="3190410"/>
                </a:lnTo>
                <a:lnTo>
                  <a:pt x="2700698" y="3182671"/>
                </a:lnTo>
                <a:lnTo>
                  <a:pt x="2691185" y="3150085"/>
                </a:lnTo>
                <a:lnTo>
                  <a:pt x="2681673" y="3147031"/>
                </a:lnTo>
                <a:lnTo>
                  <a:pt x="2681673" y="3139291"/>
                </a:lnTo>
                <a:lnTo>
                  <a:pt x="2681673" y="3139291"/>
                </a:lnTo>
                <a:lnTo>
                  <a:pt x="2675053" y="3068758"/>
                </a:lnTo>
                <a:lnTo>
                  <a:pt x="2689707" y="3010646"/>
                </a:lnTo>
                <a:lnTo>
                  <a:pt x="2708796" y="3007591"/>
                </a:lnTo>
                <a:lnTo>
                  <a:pt x="2770435" y="3025378"/>
                </a:lnTo>
                <a:lnTo>
                  <a:pt x="2782904" y="3017639"/>
                </a:lnTo>
                <a:lnTo>
                  <a:pt x="2818832" y="3016824"/>
                </a:lnTo>
                <a:lnTo>
                  <a:pt x="2837922" y="2998291"/>
                </a:lnTo>
                <a:lnTo>
                  <a:pt x="2839464" y="2998329"/>
                </a:lnTo>
                <a:lnTo>
                  <a:pt x="2837921" y="2998290"/>
                </a:lnTo>
                <a:lnTo>
                  <a:pt x="2818832" y="3016824"/>
                </a:lnTo>
                <a:lnTo>
                  <a:pt x="2782903" y="3017638"/>
                </a:lnTo>
                <a:lnTo>
                  <a:pt x="2770434" y="3025377"/>
                </a:lnTo>
                <a:lnTo>
                  <a:pt x="2708796" y="3007591"/>
                </a:lnTo>
                <a:lnTo>
                  <a:pt x="2689707" y="3010646"/>
                </a:lnTo>
                <a:lnTo>
                  <a:pt x="2689707" y="3009899"/>
                </a:lnTo>
                <a:lnTo>
                  <a:pt x="2672868" y="2986614"/>
                </a:lnTo>
                <a:lnTo>
                  <a:pt x="2670683" y="2921578"/>
                </a:lnTo>
                <a:close/>
                <a:moveTo>
                  <a:pt x="2581151" y="2871953"/>
                </a:moveTo>
                <a:lnTo>
                  <a:pt x="2581152" y="2871954"/>
                </a:lnTo>
                <a:lnTo>
                  <a:pt x="2631025" y="2883630"/>
                </a:lnTo>
                <a:lnTo>
                  <a:pt x="2631052" y="2883675"/>
                </a:lnTo>
                <a:lnTo>
                  <a:pt x="2631026" y="2883629"/>
                </a:lnTo>
                <a:close/>
                <a:moveTo>
                  <a:pt x="2019337" y="2851858"/>
                </a:moveTo>
                <a:lnTo>
                  <a:pt x="2022229" y="2890553"/>
                </a:lnTo>
                <a:lnTo>
                  <a:pt x="2039133" y="2913024"/>
                </a:lnTo>
                <a:lnTo>
                  <a:pt x="2034698" y="2986613"/>
                </a:lnTo>
                <a:lnTo>
                  <a:pt x="2047938" y="2980436"/>
                </a:lnTo>
                <a:lnTo>
                  <a:pt x="2069920" y="2982744"/>
                </a:lnTo>
                <a:lnTo>
                  <a:pt x="2070063" y="2982698"/>
                </a:lnTo>
                <a:lnTo>
                  <a:pt x="2069920" y="2982743"/>
                </a:lnTo>
                <a:lnTo>
                  <a:pt x="2047939" y="2980435"/>
                </a:lnTo>
                <a:lnTo>
                  <a:pt x="2034698" y="2986612"/>
                </a:lnTo>
                <a:lnTo>
                  <a:pt x="2039840" y="2913023"/>
                </a:lnTo>
                <a:lnTo>
                  <a:pt x="2022229" y="2890553"/>
                </a:lnTo>
                <a:close/>
                <a:moveTo>
                  <a:pt x="2016380" y="2792185"/>
                </a:moveTo>
                <a:lnTo>
                  <a:pt x="2016380" y="2792185"/>
                </a:lnTo>
                <a:lnTo>
                  <a:pt x="2027371" y="2815403"/>
                </a:lnTo>
                <a:lnTo>
                  <a:pt x="2027371" y="2815402"/>
                </a:lnTo>
                <a:close/>
                <a:moveTo>
                  <a:pt x="1954036" y="2753421"/>
                </a:moveTo>
                <a:lnTo>
                  <a:pt x="1954035" y="2753422"/>
                </a:lnTo>
                <a:lnTo>
                  <a:pt x="2016380" y="2753422"/>
                </a:lnTo>
                <a:lnTo>
                  <a:pt x="2016380" y="2753421"/>
                </a:lnTo>
                <a:close/>
                <a:moveTo>
                  <a:pt x="1898611" y="2744099"/>
                </a:moveTo>
                <a:lnTo>
                  <a:pt x="1898310" y="2744121"/>
                </a:lnTo>
                <a:lnTo>
                  <a:pt x="1884363" y="2780576"/>
                </a:lnTo>
                <a:lnTo>
                  <a:pt x="1876265" y="2796054"/>
                </a:lnTo>
                <a:lnTo>
                  <a:pt x="1849141" y="2786754"/>
                </a:lnTo>
                <a:lnTo>
                  <a:pt x="1848842" y="2786912"/>
                </a:lnTo>
                <a:lnTo>
                  <a:pt x="1876265" y="2796055"/>
                </a:lnTo>
                <a:lnTo>
                  <a:pt x="1884363" y="2780577"/>
                </a:lnTo>
                <a:lnTo>
                  <a:pt x="1898310" y="2744121"/>
                </a:lnTo>
                <a:close/>
                <a:moveTo>
                  <a:pt x="1931990" y="2730951"/>
                </a:moveTo>
                <a:lnTo>
                  <a:pt x="1931989" y="2730953"/>
                </a:lnTo>
                <a:lnTo>
                  <a:pt x="1931990" y="2730951"/>
                </a:lnTo>
                <a:lnTo>
                  <a:pt x="1958406" y="2730951"/>
                </a:lnTo>
                <a:lnTo>
                  <a:pt x="1954036" y="2753418"/>
                </a:lnTo>
                <a:lnTo>
                  <a:pt x="1959177" y="2730951"/>
                </a:lnTo>
                <a:close/>
                <a:moveTo>
                  <a:pt x="1751574" y="2711603"/>
                </a:moveTo>
                <a:lnTo>
                  <a:pt x="1751575" y="2711604"/>
                </a:lnTo>
                <a:lnTo>
                  <a:pt x="1766229" y="2747991"/>
                </a:lnTo>
                <a:lnTo>
                  <a:pt x="1777991" y="2768968"/>
                </a:lnTo>
                <a:lnTo>
                  <a:pt x="1797080" y="2800671"/>
                </a:lnTo>
                <a:lnTo>
                  <a:pt x="1831531" y="2796055"/>
                </a:lnTo>
                <a:lnTo>
                  <a:pt x="1831557" y="2796040"/>
                </a:lnTo>
                <a:lnTo>
                  <a:pt x="1831530" y="2796054"/>
                </a:lnTo>
                <a:lnTo>
                  <a:pt x="1797080" y="2800670"/>
                </a:lnTo>
                <a:lnTo>
                  <a:pt x="1777991" y="2768967"/>
                </a:lnTo>
                <a:lnTo>
                  <a:pt x="1766229" y="2747990"/>
                </a:lnTo>
                <a:close/>
                <a:moveTo>
                  <a:pt x="3754008" y="2584520"/>
                </a:moveTo>
                <a:lnTo>
                  <a:pt x="3758443" y="2592327"/>
                </a:lnTo>
                <a:lnTo>
                  <a:pt x="3758443" y="2598505"/>
                </a:lnTo>
                <a:lnTo>
                  <a:pt x="3755486" y="2596197"/>
                </a:lnTo>
                <a:lnTo>
                  <a:pt x="3754779" y="2592327"/>
                </a:lnTo>
                <a:lnTo>
                  <a:pt x="3752594" y="2589951"/>
                </a:lnTo>
                <a:lnTo>
                  <a:pt x="3750344" y="2587643"/>
                </a:lnTo>
                <a:close/>
                <a:moveTo>
                  <a:pt x="1598992" y="2580649"/>
                </a:moveTo>
                <a:lnTo>
                  <a:pt x="1582204" y="2603862"/>
                </a:lnTo>
                <a:lnTo>
                  <a:pt x="1599744" y="2580671"/>
                </a:lnTo>
                <a:close/>
                <a:moveTo>
                  <a:pt x="1549887" y="2576780"/>
                </a:moveTo>
                <a:lnTo>
                  <a:pt x="1549886" y="2576780"/>
                </a:lnTo>
                <a:lnTo>
                  <a:pt x="1568203" y="2598504"/>
                </a:lnTo>
                <a:lnTo>
                  <a:pt x="1568203" y="2598503"/>
                </a:lnTo>
                <a:lnTo>
                  <a:pt x="1582150" y="2603934"/>
                </a:lnTo>
                <a:lnTo>
                  <a:pt x="1582150" y="2603934"/>
                </a:lnTo>
                <a:lnTo>
                  <a:pt x="1568205" y="2597689"/>
                </a:lnTo>
                <a:close/>
                <a:moveTo>
                  <a:pt x="1711133" y="2541217"/>
                </a:moveTo>
                <a:lnTo>
                  <a:pt x="1681197" y="2570602"/>
                </a:lnTo>
                <a:lnTo>
                  <a:pt x="1649639" y="2609366"/>
                </a:lnTo>
                <a:lnTo>
                  <a:pt x="1631257" y="2599251"/>
                </a:lnTo>
                <a:lnTo>
                  <a:pt x="1627593" y="2581464"/>
                </a:lnTo>
                <a:lnTo>
                  <a:pt x="1627592" y="2581464"/>
                </a:lnTo>
                <a:lnTo>
                  <a:pt x="1631255" y="2599250"/>
                </a:lnTo>
                <a:lnTo>
                  <a:pt x="1649637" y="2610112"/>
                </a:lnTo>
                <a:lnTo>
                  <a:pt x="1681195" y="2571348"/>
                </a:lnTo>
                <a:close/>
                <a:moveTo>
                  <a:pt x="2407355" y="2515613"/>
                </a:moveTo>
                <a:lnTo>
                  <a:pt x="2397071" y="2614796"/>
                </a:lnTo>
                <a:lnTo>
                  <a:pt x="2411018" y="2649622"/>
                </a:lnTo>
                <a:lnTo>
                  <a:pt x="2401442" y="2675215"/>
                </a:lnTo>
                <a:lnTo>
                  <a:pt x="2418345" y="2719342"/>
                </a:lnTo>
                <a:lnTo>
                  <a:pt x="2449132" y="2752674"/>
                </a:lnTo>
                <a:lnTo>
                  <a:pt x="2455752" y="2786754"/>
                </a:lnTo>
                <a:lnTo>
                  <a:pt x="2469700" y="2803046"/>
                </a:lnTo>
                <a:lnTo>
                  <a:pt x="2467450" y="2813840"/>
                </a:lnTo>
                <a:lnTo>
                  <a:pt x="2458645" y="2810786"/>
                </a:lnTo>
                <a:lnTo>
                  <a:pt x="2389744" y="2821647"/>
                </a:lnTo>
                <a:lnTo>
                  <a:pt x="2375025" y="2828572"/>
                </a:lnTo>
                <a:lnTo>
                  <a:pt x="2360371" y="2868082"/>
                </a:lnTo>
                <a:lnTo>
                  <a:pt x="2371362" y="2895237"/>
                </a:lnTo>
                <a:lnTo>
                  <a:pt x="2360371" y="2968079"/>
                </a:lnTo>
                <a:lnTo>
                  <a:pt x="2353044" y="3029992"/>
                </a:lnTo>
                <a:lnTo>
                  <a:pt x="2353045" y="3029993"/>
                </a:lnTo>
                <a:lnTo>
                  <a:pt x="2360372" y="2968080"/>
                </a:lnTo>
                <a:lnTo>
                  <a:pt x="2371363" y="2895238"/>
                </a:lnTo>
                <a:lnTo>
                  <a:pt x="2360372" y="2868083"/>
                </a:lnTo>
                <a:lnTo>
                  <a:pt x="2375026" y="2828573"/>
                </a:lnTo>
                <a:lnTo>
                  <a:pt x="2389745" y="2821648"/>
                </a:lnTo>
                <a:lnTo>
                  <a:pt x="2458646" y="2811533"/>
                </a:lnTo>
                <a:lnTo>
                  <a:pt x="2467451" y="2813841"/>
                </a:lnTo>
                <a:lnTo>
                  <a:pt x="2463788" y="2827079"/>
                </a:lnTo>
                <a:lnTo>
                  <a:pt x="2481399" y="2831696"/>
                </a:lnTo>
                <a:lnTo>
                  <a:pt x="2492389" y="2844866"/>
                </a:lnTo>
                <a:lnTo>
                  <a:pt x="2501966" y="2840996"/>
                </a:lnTo>
                <a:lnTo>
                  <a:pt x="2496824" y="2830949"/>
                </a:lnTo>
                <a:lnTo>
                  <a:pt x="2499778" y="2832441"/>
                </a:lnTo>
                <a:lnTo>
                  <a:pt x="2496824" y="2830134"/>
                </a:lnTo>
                <a:lnTo>
                  <a:pt x="2471886" y="2767407"/>
                </a:lnTo>
                <a:lnTo>
                  <a:pt x="2469701" y="2729458"/>
                </a:lnTo>
                <a:lnTo>
                  <a:pt x="2427859" y="2688386"/>
                </a:lnTo>
                <a:lnTo>
                  <a:pt x="2440328" y="2665101"/>
                </a:lnTo>
                <a:lnTo>
                  <a:pt x="2430815" y="2639576"/>
                </a:lnTo>
                <a:lnTo>
                  <a:pt x="2433001" y="2613236"/>
                </a:lnTo>
                <a:lnTo>
                  <a:pt x="2422717" y="2604682"/>
                </a:lnTo>
                <a:lnTo>
                  <a:pt x="2425673" y="2578341"/>
                </a:lnTo>
                <a:lnTo>
                  <a:pt x="2425863" y="2578314"/>
                </a:lnTo>
                <a:lnTo>
                  <a:pt x="2426379" y="2576035"/>
                </a:lnTo>
                <a:lnTo>
                  <a:pt x="2408061" y="2517177"/>
                </a:lnTo>
                <a:lnTo>
                  <a:pt x="2408004" y="2516299"/>
                </a:lnTo>
                <a:close/>
                <a:moveTo>
                  <a:pt x="1722333" y="2472245"/>
                </a:moveTo>
                <a:lnTo>
                  <a:pt x="1723682" y="2521791"/>
                </a:lnTo>
                <a:lnTo>
                  <a:pt x="1711245" y="2541089"/>
                </a:lnTo>
                <a:lnTo>
                  <a:pt x="1724451" y="2521791"/>
                </a:lnTo>
                <a:close/>
                <a:moveTo>
                  <a:pt x="1508827" y="2458247"/>
                </a:moveTo>
                <a:lnTo>
                  <a:pt x="1508815" y="2458249"/>
                </a:lnTo>
                <a:lnTo>
                  <a:pt x="1491204" y="2473795"/>
                </a:lnTo>
                <a:lnTo>
                  <a:pt x="1510229" y="2514799"/>
                </a:lnTo>
                <a:lnTo>
                  <a:pt x="1510152" y="2514866"/>
                </a:lnTo>
                <a:lnTo>
                  <a:pt x="1510230" y="2514799"/>
                </a:lnTo>
                <a:lnTo>
                  <a:pt x="1491205" y="2473795"/>
                </a:lnTo>
                <a:lnTo>
                  <a:pt x="1508816" y="2458249"/>
                </a:lnTo>
                <a:close/>
                <a:moveTo>
                  <a:pt x="2478662" y="2447339"/>
                </a:moveTo>
                <a:lnTo>
                  <a:pt x="2469700" y="2452072"/>
                </a:lnTo>
                <a:lnTo>
                  <a:pt x="2441805" y="2448202"/>
                </a:lnTo>
                <a:lnTo>
                  <a:pt x="2426379" y="2483028"/>
                </a:lnTo>
                <a:lnTo>
                  <a:pt x="2394115" y="2477665"/>
                </a:lnTo>
                <a:lnTo>
                  <a:pt x="2394485" y="2478466"/>
                </a:lnTo>
                <a:lnTo>
                  <a:pt x="2426379" y="2483030"/>
                </a:lnTo>
                <a:lnTo>
                  <a:pt x="2441805" y="2448204"/>
                </a:lnTo>
                <a:lnTo>
                  <a:pt x="2469700" y="2452073"/>
                </a:lnTo>
                <a:lnTo>
                  <a:pt x="2469704" y="2452112"/>
                </a:lnTo>
                <a:lnTo>
                  <a:pt x="2469701" y="2452072"/>
                </a:lnTo>
                <a:close/>
                <a:moveTo>
                  <a:pt x="2407354" y="2440462"/>
                </a:moveTo>
                <a:lnTo>
                  <a:pt x="2399963" y="2444332"/>
                </a:lnTo>
                <a:lnTo>
                  <a:pt x="2399963" y="2444333"/>
                </a:lnTo>
                <a:lnTo>
                  <a:pt x="2407354" y="2440463"/>
                </a:lnTo>
                <a:close/>
                <a:moveTo>
                  <a:pt x="1636471" y="2426065"/>
                </a:moveTo>
                <a:lnTo>
                  <a:pt x="1636397" y="2426478"/>
                </a:lnTo>
                <a:lnTo>
                  <a:pt x="1620265" y="2455941"/>
                </a:lnTo>
                <a:lnTo>
                  <a:pt x="1620266" y="2455941"/>
                </a:lnTo>
                <a:lnTo>
                  <a:pt x="1636399" y="2426478"/>
                </a:lnTo>
                <a:close/>
                <a:moveTo>
                  <a:pt x="1548407" y="2424170"/>
                </a:moveTo>
                <a:lnTo>
                  <a:pt x="1548397" y="2424224"/>
                </a:lnTo>
                <a:lnTo>
                  <a:pt x="1574994" y="2452251"/>
                </a:lnTo>
                <a:close/>
                <a:moveTo>
                  <a:pt x="1744793" y="2410683"/>
                </a:moveTo>
                <a:lnTo>
                  <a:pt x="1722268" y="2469858"/>
                </a:lnTo>
                <a:lnTo>
                  <a:pt x="1722289" y="2470611"/>
                </a:lnTo>
                <a:close/>
                <a:moveTo>
                  <a:pt x="2487953" y="2408585"/>
                </a:moveTo>
                <a:lnTo>
                  <a:pt x="2484354" y="2444332"/>
                </a:lnTo>
                <a:lnTo>
                  <a:pt x="2484355" y="2444332"/>
                </a:lnTo>
                <a:lnTo>
                  <a:pt x="2488018" y="2408692"/>
                </a:lnTo>
                <a:close/>
                <a:moveTo>
                  <a:pt x="2436644" y="2316537"/>
                </a:moveTo>
                <a:lnTo>
                  <a:pt x="2424194" y="2339718"/>
                </a:lnTo>
                <a:lnTo>
                  <a:pt x="2423489" y="2386140"/>
                </a:lnTo>
                <a:lnTo>
                  <a:pt x="2424900" y="2339719"/>
                </a:lnTo>
                <a:close/>
                <a:moveTo>
                  <a:pt x="1810251" y="2306527"/>
                </a:moveTo>
                <a:lnTo>
                  <a:pt x="1808073" y="2329671"/>
                </a:lnTo>
                <a:lnTo>
                  <a:pt x="1802948" y="2348955"/>
                </a:lnTo>
                <a:lnTo>
                  <a:pt x="1808778" y="2329671"/>
                </a:lnTo>
                <a:close/>
                <a:moveTo>
                  <a:pt x="1241053" y="2278554"/>
                </a:moveTo>
                <a:lnTo>
                  <a:pt x="1244717" y="2278554"/>
                </a:lnTo>
                <a:lnTo>
                  <a:pt x="1247673" y="2283171"/>
                </a:lnTo>
                <a:lnTo>
                  <a:pt x="1247673" y="2288602"/>
                </a:lnTo>
                <a:lnTo>
                  <a:pt x="1242531" y="2296341"/>
                </a:lnTo>
                <a:lnTo>
                  <a:pt x="1238161" y="2301025"/>
                </a:lnTo>
                <a:lnTo>
                  <a:pt x="1235204" y="2298649"/>
                </a:lnTo>
                <a:lnTo>
                  <a:pt x="1234433" y="2296341"/>
                </a:lnTo>
                <a:lnTo>
                  <a:pt x="1233726" y="2289348"/>
                </a:lnTo>
                <a:lnTo>
                  <a:pt x="1233726" y="2286293"/>
                </a:lnTo>
                <a:lnTo>
                  <a:pt x="1236682" y="2282424"/>
                </a:lnTo>
                <a:close/>
                <a:moveTo>
                  <a:pt x="2469687" y="2205730"/>
                </a:moveTo>
                <a:lnTo>
                  <a:pt x="2449839" y="2237481"/>
                </a:lnTo>
                <a:lnTo>
                  <a:pt x="2438860" y="2266846"/>
                </a:lnTo>
                <a:lnTo>
                  <a:pt x="2450609" y="2238228"/>
                </a:lnTo>
                <a:close/>
                <a:moveTo>
                  <a:pt x="1282123" y="2198719"/>
                </a:moveTo>
                <a:lnTo>
                  <a:pt x="1282895" y="2200280"/>
                </a:lnTo>
                <a:lnTo>
                  <a:pt x="1284373" y="2201027"/>
                </a:lnTo>
                <a:lnTo>
                  <a:pt x="1284373" y="2202588"/>
                </a:lnTo>
                <a:lnTo>
                  <a:pt x="1282123" y="2206458"/>
                </a:lnTo>
                <a:lnTo>
                  <a:pt x="1280645" y="2208834"/>
                </a:lnTo>
                <a:lnTo>
                  <a:pt x="1278460" y="2206458"/>
                </a:lnTo>
                <a:lnTo>
                  <a:pt x="1277753" y="2204964"/>
                </a:lnTo>
                <a:lnTo>
                  <a:pt x="1280645" y="2200280"/>
                </a:lnTo>
                <a:close/>
                <a:moveTo>
                  <a:pt x="1821996" y="2196606"/>
                </a:moveTo>
                <a:lnTo>
                  <a:pt x="1815400" y="2250651"/>
                </a:lnTo>
                <a:lnTo>
                  <a:pt x="1818347" y="2285366"/>
                </a:lnTo>
                <a:lnTo>
                  <a:pt x="1816105" y="2250651"/>
                </a:lnTo>
                <a:close/>
                <a:moveTo>
                  <a:pt x="1574052" y="2163079"/>
                </a:moveTo>
                <a:lnTo>
                  <a:pt x="1570389" y="2190233"/>
                </a:lnTo>
                <a:lnTo>
                  <a:pt x="1583629" y="2222750"/>
                </a:lnTo>
                <a:lnTo>
                  <a:pt x="1622514" y="2217319"/>
                </a:lnTo>
                <a:lnTo>
                  <a:pt x="1634983" y="2228928"/>
                </a:lnTo>
                <a:lnTo>
                  <a:pt x="1612938" y="2301024"/>
                </a:lnTo>
                <a:lnTo>
                  <a:pt x="1637876" y="2337411"/>
                </a:lnTo>
                <a:lnTo>
                  <a:pt x="1643667" y="2384998"/>
                </a:lnTo>
                <a:lnTo>
                  <a:pt x="1643726" y="2384660"/>
                </a:lnTo>
                <a:lnTo>
                  <a:pt x="1637877" y="2337411"/>
                </a:lnTo>
                <a:lnTo>
                  <a:pt x="1612939" y="2301023"/>
                </a:lnTo>
                <a:lnTo>
                  <a:pt x="1634985" y="2228927"/>
                </a:lnTo>
                <a:lnTo>
                  <a:pt x="1622516" y="2217319"/>
                </a:lnTo>
                <a:lnTo>
                  <a:pt x="1583630" y="2222003"/>
                </a:lnTo>
                <a:lnTo>
                  <a:pt x="1570390" y="2190232"/>
                </a:lnTo>
                <a:lnTo>
                  <a:pt x="1574053" y="2163079"/>
                </a:lnTo>
                <a:lnTo>
                  <a:pt x="1574053" y="2163079"/>
                </a:lnTo>
                <a:close/>
                <a:moveTo>
                  <a:pt x="1725292" y="2162792"/>
                </a:moveTo>
                <a:lnTo>
                  <a:pt x="1725158" y="2163078"/>
                </a:lnTo>
                <a:lnTo>
                  <a:pt x="1725159" y="2163079"/>
                </a:lnTo>
                <a:lnTo>
                  <a:pt x="1721495" y="2197156"/>
                </a:lnTo>
                <a:lnTo>
                  <a:pt x="1721497" y="2197156"/>
                </a:lnTo>
                <a:lnTo>
                  <a:pt x="1725160" y="2163077"/>
                </a:lnTo>
                <a:close/>
                <a:moveTo>
                  <a:pt x="2487986" y="2087153"/>
                </a:moveTo>
                <a:lnTo>
                  <a:pt x="2485166" y="2156612"/>
                </a:lnTo>
                <a:lnTo>
                  <a:pt x="2488016" y="2087180"/>
                </a:lnTo>
                <a:lnTo>
                  <a:pt x="2488017" y="2087180"/>
                </a:lnTo>
                <a:close/>
                <a:moveTo>
                  <a:pt x="1781654" y="2073196"/>
                </a:moveTo>
                <a:lnTo>
                  <a:pt x="1781585" y="2073272"/>
                </a:lnTo>
                <a:lnTo>
                  <a:pt x="1781655" y="2073196"/>
                </a:lnTo>
                <a:close/>
                <a:moveTo>
                  <a:pt x="1854283" y="2044547"/>
                </a:moveTo>
                <a:lnTo>
                  <a:pt x="1854283" y="2044548"/>
                </a:lnTo>
                <a:lnTo>
                  <a:pt x="1849848" y="2087926"/>
                </a:lnTo>
                <a:close/>
                <a:moveTo>
                  <a:pt x="1874407" y="2013363"/>
                </a:moveTo>
                <a:lnTo>
                  <a:pt x="1874079" y="2013591"/>
                </a:lnTo>
                <a:lnTo>
                  <a:pt x="1854346" y="2044450"/>
                </a:lnTo>
                <a:close/>
                <a:moveTo>
                  <a:pt x="2308373" y="1981105"/>
                </a:moveTo>
                <a:lnTo>
                  <a:pt x="2339868" y="2031376"/>
                </a:lnTo>
                <a:lnTo>
                  <a:pt x="2363094" y="2039038"/>
                </a:lnTo>
                <a:lnTo>
                  <a:pt x="2340575" y="2031379"/>
                </a:lnTo>
                <a:close/>
                <a:moveTo>
                  <a:pt x="2218841" y="1979512"/>
                </a:moveTo>
                <a:lnTo>
                  <a:pt x="2200458" y="1984875"/>
                </a:lnTo>
                <a:lnTo>
                  <a:pt x="2192427" y="1999602"/>
                </a:lnTo>
                <a:lnTo>
                  <a:pt x="2201230" y="1984874"/>
                </a:lnTo>
                <a:lnTo>
                  <a:pt x="2219281" y="1979589"/>
                </a:lnTo>
                <a:close/>
                <a:moveTo>
                  <a:pt x="2299504" y="1960912"/>
                </a:moveTo>
                <a:lnTo>
                  <a:pt x="2308308" y="1981005"/>
                </a:lnTo>
                <a:lnTo>
                  <a:pt x="2308309" y="1981005"/>
                </a:lnTo>
                <a:lnTo>
                  <a:pt x="2299504" y="1960912"/>
                </a:lnTo>
                <a:close/>
                <a:moveTo>
                  <a:pt x="457893" y="1904609"/>
                </a:moveTo>
                <a:lnTo>
                  <a:pt x="457690" y="1905108"/>
                </a:lnTo>
                <a:lnTo>
                  <a:pt x="472304" y="1922100"/>
                </a:lnTo>
                <a:close/>
                <a:moveTo>
                  <a:pt x="2237008" y="1887597"/>
                </a:moveTo>
                <a:lnTo>
                  <a:pt x="2247442" y="1899677"/>
                </a:lnTo>
                <a:lnTo>
                  <a:pt x="2261389" y="1936879"/>
                </a:lnTo>
                <a:lnTo>
                  <a:pt x="2261390" y="1936880"/>
                </a:lnTo>
                <a:lnTo>
                  <a:pt x="2247443" y="1899678"/>
                </a:lnTo>
                <a:close/>
                <a:moveTo>
                  <a:pt x="2660399" y="1882638"/>
                </a:moveTo>
                <a:lnTo>
                  <a:pt x="2660400" y="1882639"/>
                </a:lnTo>
                <a:lnTo>
                  <a:pt x="2683859" y="1897370"/>
                </a:lnTo>
                <a:lnTo>
                  <a:pt x="2683858" y="1897369"/>
                </a:lnTo>
                <a:close/>
                <a:moveTo>
                  <a:pt x="324200" y="1866304"/>
                </a:moveTo>
                <a:lnTo>
                  <a:pt x="324193" y="1866344"/>
                </a:lnTo>
                <a:lnTo>
                  <a:pt x="324161" y="1866398"/>
                </a:lnTo>
                <a:lnTo>
                  <a:pt x="324195" y="1866345"/>
                </a:lnTo>
                <a:close/>
                <a:moveTo>
                  <a:pt x="463566" y="1847972"/>
                </a:moveTo>
                <a:lnTo>
                  <a:pt x="468584" y="1877448"/>
                </a:lnTo>
                <a:lnTo>
                  <a:pt x="468681" y="1877207"/>
                </a:lnTo>
                <a:close/>
                <a:moveTo>
                  <a:pt x="1692861" y="1829127"/>
                </a:moveTo>
                <a:lnTo>
                  <a:pt x="1692893" y="1829211"/>
                </a:lnTo>
                <a:lnTo>
                  <a:pt x="1684860" y="1845436"/>
                </a:lnTo>
                <a:lnTo>
                  <a:pt x="1727343" y="1841566"/>
                </a:lnTo>
                <a:lnTo>
                  <a:pt x="1727344" y="1841566"/>
                </a:lnTo>
                <a:lnTo>
                  <a:pt x="1684860" y="1845435"/>
                </a:lnTo>
                <a:lnTo>
                  <a:pt x="1692894" y="1829210"/>
                </a:lnTo>
                <a:close/>
                <a:moveTo>
                  <a:pt x="2189468" y="1821404"/>
                </a:moveTo>
                <a:lnTo>
                  <a:pt x="2190946" y="1840819"/>
                </a:lnTo>
                <a:lnTo>
                  <a:pt x="2190947" y="1840820"/>
                </a:lnTo>
                <a:lnTo>
                  <a:pt x="2189468" y="1821405"/>
                </a:lnTo>
                <a:close/>
                <a:moveTo>
                  <a:pt x="1822725" y="1817534"/>
                </a:moveTo>
                <a:lnTo>
                  <a:pt x="1758196" y="1840819"/>
                </a:lnTo>
                <a:lnTo>
                  <a:pt x="1744955" y="1827649"/>
                </a:lnTo>
                <a:lnTo>
                  <a:pt x="1736921" y="1825340"/>
                </a:lnTo>
                <a:lnTo>
                  <a:pt x="1736921" y="1825341"/>
                </a:lnTo>
                <a:lnTo>
                  <a:pt x="1744954" y="1827649"/>
                </a:lnTo>
                <a:lnTo>
                  <a:pt x="1758194" y="1840819"/>
                </a:lnTo>
                <a:lnTo>
                  <a:pt x="1822725" y="1817534"/>
                </a:lnTo>
                <a:close/>
                <a:moveTo>
                  <a:pt x="350691" y="1814381"/>
                </a:moveTo>
                <a:lnTo>
                  <a:pt x="350609" y="1814479"/>
                </a:lnTo>
                <a:lnTo>
                  <a:pt x="350539" y="1814579"/>
                </a:lnTo>
                <a:lnTo>
                  <a:pt x="350611" y="1814479"/>
                </a:lnTo>
                <a:close/>
                <a:moveTo>
                  <a:pt x="420197" y="1814326"/>
                </a:moveTo>
                <a:lnTo>
                  <a:pt x="420283" y="1814479"/>
                </a:lnTo>
                <a:lnTo>
                  <a:pt x="416620" y="1840005"/>
                </a:lnTo>
                <a:lnTo>
                  <a:pt x="426903" y="1852428"/>
                </a:lnTo>
                <a:lnTo>
                  <a:pt x="441558" y="1853175"/>
                </a:lnTo>
                <a:lnTo>
                  <a:pt x="451841" y="1828396"/>
                </a:lnTo>
                <a:lnTo>
                  <a:pt x="466496" y="1829958"/>
                </a:lnTo>
                <a:lnTo>
                  <a:pt x="466496" y="1829958"/>
                </a:lnTo>
                <a:lnTo>
                  <a:pt x="474529" y="1829958"/>
                </a:lnTo>
                <a:lnTo>
                  <a:pt x="474529" y="1829956"/>
                </a:lnTo>
                <a:lnTo>
                  <a:pt x="466496" y="1829956"/>
                </a:lnTo>
                <a:lnTo>
                  <a:pt x="451842" y="1828394"/>
                </a:lnTo>
                <a:lnTo>
                  <a:pt x="441558" y="1853173"/>
                </a:lnTo>
                <a:lnTo>
                  <a:pt x="426904" y="1852426"/>
                </a:lnTo>
                <a:lnTo>
                  <a:pt x="416620" y="1840003"/>
                </a:lnTo>
                <a:lnTo>
                  <a:pt x="420284" y="1814478"/>
                </a:lnTo>
                <a:close/>
                <a:moveTo>
                  <a:pt x="3355000" y="1809795"/>
                </a:moveTo>
                <a:lnTo>
                  <a:pt x="3214177" y="1994990"/>
                </a:lnTo>
                <a:lnTo>
                  <a:pt x="3145983" y="1998045"/>
                </a:lnTo>
                <a:lnTo>
                  <a:pt x="3101249" y="2041493"/>
                </a:lnTo>
                <a:lnTo>
                  <a:pt x="3068212" y="2042240"/>
                </a:lnTo>
                <a:lnTo>
                  <a:pt x="3054265" y="2061587"/>
                </a:lnTo>
                <a:lnTo>
                  <a:pt x="3010238" y="2131307"/>
                </a:lnTo>
                <a:lnTo>
                  <a:pt x="3012488" y="2356012"/>
                </a:lnTo>
                <a:lnTo>
                  <a:pt x="3012488" y="2356013"/>
                </a:lnTo>
                <a:lnTo>
                  <a:pt x="3010239" y="2131307"/>
                </a:lnTo>
                <a:lnTo>
                  <a:pt x="3054266" y="2061588"/>
                </a:lnTo>
                <a:lnTo>
                  <a:pt x="3068213" y="2042240"/>
                </a:lnTo>
                <a:lnTo>
                  <a:pt x="3101250" y="2041493"/>
                </a:lnTo>
                <a:lnTo>
                  <a:pt x="3145984" y="1998045"/>
                </a:lnTo>
                <a:lnTo>
                  <a:pt x="3214178" y="1994991"/>
                </a:lnTo>
                <a:lnTo>
                  <a:pt x="3355001" y="1809795"/>
                </a:lnTo>
                <a:close/>
                <a:moveTo>
                  <a:pt x="2609720" y="1788954"/>
                </a:moveTo>
                <a:lnTo>
                  <a:pt x="2592912" y="1823781"/>
                </a:lnTo>
                <a:lnTo>
                  <a:pt x="2624471" y="1828397"/>
                </a:lnTo>
                <a:lnTo>
                  <a:pt x="2650822" y="1858606"/>
                </a:lnTo>
                <a:lnTo>
                  <a:pt x="2650822" y="1858605"/>
                </a:lnTo>
                <a:lnTo>
                  <a:pt x="2624470" y="1828396"/>
                </a:lnTo>
                <a:lnTo>
                  <a:pt x="2593619" y="1823779"/>
                </a:lnTo>
                <a:close/>
                <a:moveTo>
                  <a:pt x="497282" y="1774968"/>
                </a:moveTo>
                <a:lnTo>
                  <a:pt x="478965" y="1782707"/>
                </a:lnTo>
                <a:lnTo>
                  <a:pt x="473823" y="1791193"/>
                </a:lnTo>
                <a:lnTo>
                  <a:pt x="473823" y="1791193"/>
                </a:lnTo>
                <a:lnTo>
                  <a:pt x="478964" y="1782709"/>
                </a:lnTo>
                <a:lnTo>
                  <a:pt x="497282" y="1774970"/>
                </a:lnTo>
                <a:close/>
                <a:moveTo>
                  <a:pt x="3222876" y="1772345"/>
                </a:moveTo>
                <a:lnTo>
                  <a:pt x="3310972" y="1810609"/>
                </a:lnTo>
                <a:lnTo>
                  <a:pt x="3310973" y="1810609"/>
                </a:lnTo>
                <a:close/>
                <a:moveTo>
                  <a:pt x="923479" y="1769536"/>
                </a:moveTo>
                <a:lnTo>
                  <a:pt x="923479" y="1769538"/>
                </a:lnTo>
                <a:lnTo>
                  <a:pt x="936654" y="1791193"/>
                </a:lnTo>
                <a:lnTo>
                  <a:pt x="936654" y="1791192"/>
                </a:lnTo>
                <a:close/>
                <a:moveTo>
                  <a:pt x="1879929" y="1743944"/>
                </a:moveTo>
                <a:lnTo>
                  <a:pt x="1865275" y="1750190"/>
                </a:lnTo>
                <a:lnTo>
                  <a:pt x="1865275" y="1750190"/>
                </a:lnTo>
                <a:lnTo>
                  <a:pt x="1879928" y="1743945"/>
                </a:lnTo>
                <a:lnTo>
                  <a:pt x="1929804" y="1747814"/>
                </a:lnTo>
                <a:lnTo>
                  <a:pt x="1929805" y="1747814"/>
                </a:lnTo>
                <a:close/>
                <a:moveTo>
                  <a:pt x="1065000" y="1721484"/>
                </a:moveTo>
                <a:lnTo>
                  <a:pt x="1048876" y="1740075"/>
                </a:lnTo>
                <a:lnTo>
                  <a:pt x="1040074" y="1778821"/>
                </a:lnTo>
                <a:lnTo>
                  <a:pt x="1049647" y="1740074"/>
                </a:lnTo>
                <a:close/>
                <a:moveTo>
                  <a:pt x="2642790" y="1720027"/>
                </a:moveTo>
                <a:lnTo>
                  <a:pt x="2644267" y="1767978"/>
                </a:lnTo>
                <a:lnTo>
                  <a:pt x="2636940" y="1787325"/>
                </a:lnTo>
                <a:lnTo>
                  <a:pt x="2610637" y="1788836"/>
                </a:lnTo>
                <a:lnTo>
                  <a:pt x="2637646" y="1787324"/>
                </a:lnTo>
                <a:lnTo>
                  <a:pt x="2644973" y="1767976"/>
                </a:lnTo>
                <a:close/>
                <a:moveTo>
                  <a:pt x="1977495" y="1719981"/>
                </a:moveTo>
                <a:lnTo>
                  <a:pt x="1947114" y="1737712"/>
                </a:lnTo>
                <a:lnTo>
                  <a:pt x="1977495" y="1719981"/>
                </a:lnTo>
                <a:close/>
                <a:moveTo>
                  <a:pt x="2635461" y="1718418"/>
                </a:moveTo>
                <a:lnTo>
                  <a:pt x="2635461" y="1719167"/>
                </a:lnTo>
                <a:lnTo>
                  <a:pt x="2642788" y="1719982"/>
                </a:lnTo>
                <a:lnTo>
                  <a:pt x="2642788" y="1719980"/>
                </a:lnTo>
                <a:lnTo>
                  <a:pt x="2642788" y="1719979"/>
                </a:lnTo>
                <a:close/>
                <a:moveTo>
                  <a:pt x="973354" y="1698255"/>
                </a:moveTo>
                <a:lnTo>
                  <a:pt x="974833" y="1728464"/>
                </a:lnTo>
                <a:lnTo>
                  <a:pt x="974834" y="1728466"/>
                </a:lnTo>
                <a:lnTo>
                  <a:pt x="973355" y="1698257"/>
                </a:lnTo>
                <a:close/>
                <a:moveTo>
                  <a:pt x="276503" y="1695948"/>
                </a:moveTo>
                <a:lnTo>
                  <a:pt x="262557" y="1697509"/>
                </a:lnTo>
                <a:lnTo>
                  <a:pt x="262557" y="1697510"/>
                </a:lnTo>
                <a:lnTo>
                  <a:pt x="276503" y="1695948"/>
                </a:lnTo>
                <a:close/>
                <a:moveTo>
                  <a:pt x="1626885" y="1685834"/>
                </a:moveTo>
                <a:lnTo>
                  <a:pt x="1615894" y="1715297"/>
                </a:lnTo>
                <a:lnTo>
                  <a:pt x="1645974" y="1750938"/>
                </a:lnTo>
                <a:lnTo>
                  <a:pt x="1646068" y="1750981"/>
                </a:lnTo>
                <a:lnTo>
                  <a:pt x="1645975" y="1750937"/>
                </a:lnTo>
                <a:lnTo>
                  <a:pt x="1615895" y="1715296"/>
                </a:lnTo>
                <a:lnTo>
                  <a:pt x="1626886" y="1685834"/>
                </a:lnTo>
                <a:close/>
                <a:moveTo>
                  <a:pt x="288267" y="1684339"/>
                </a:moveTo>
                <a:lnTo>
                  <a:pt x="288266" y="1684340"/>
                </a:lnTo>
                <a:lnTo>
                  <a:pt x="329335" y="1684340"/>
                </a:lnTo>
                <a:lnTo>
                  <a:pt x="343282" y="1705996"/>
                </a:lnTo>
                <a:lnTo>
                  <a:pt x="354273" y="1732336"/>
                </a:lnTo>
                <a:lnTo>
                  <a:pt x="352795" y="1750190"/>
                </a:lnTo>
                <a:lnTo>
                  <a:pt x="360893" y="1766415"/>
                </a:lnTo>
                <a:lnTo>
                  <a:pt x="360893" y="1788885"/>
                </a:lnTo>
                <a:lnTo>
                  <a:pt x="373916" y="1786020"/>
                </a:lnTo>
                <a:lnTo>
                  <a:pt x="373916" y="1786019"/>
                </a:lnTo>
                <a:lnTo>
                  <a:pt x="360895" y="1788884"/>
                </a:lnTo>
                <a:lnTo>
                  <a:pt x="360895" y="1766414"/>
                </a:lnTo>
                <a:lnTo>
                  <a:pt x="352797" y="1750189"/>
                </a:lnTo>
                <a:lnTo>
                  <a:pt x="354275" y="1732335"/>
                </a:lnTo>
                <a:lnTo>
                  <a:pt x="343285" y="1705995"/>
                </a:lnTo>
                <a:lnTo>
                  <a:pt x="329337" y="1684339"/>
                </a:lnTo>
                <a:close/>
                <a:moveTo>
                  <a:pt x="488478" y="1674224"/>
                </a:moveTo>
                <a:lnTo>
                  <a:pt x="478258" y="1678908"/>
                </a:lnTo>
                <a:lnTo>
                  <a:pt x="478258" y="1678909"/>
                </a:lnTo>
                <a:lnTo>
                  <a:pt x="488476" y="1674226"/>
                </a:lnTo>
                <a:close/>
                <a:moveTo>
                  <a:pt x="494392" y="1668048"/>
                </a:moveTo>
                <a:lnTo>
                  <a:pt x="494391" y="1668049"/>
                </a:lnTo>
                <a:lnTo>
                  <a:pt x="509044" y="1678095"/>
                </a:lnTo>
                <a:lnTo>
                  <a:pt x="516772" y="1678254"/>
                </a:lnTo>
                <a:lnTo>
                  <a:pt x="509046" y="1678095"/>
                </a:lnTo>
                <a:close/>
                <a:moveTo>
                  <a:pt x="622745" y="1664926"/>
                </a:moveTo>
                <a:lnTo>
                  <a:pt x="622744" y="1664926"/>
                </a:lnTo>
                <a:lnTo>
                  <a:pt x="646202" y="1678095"/>
                </a:lnTo>
                <a:lnTo>
                  <a:pt x="655008" y="1698258"/>
                </a:lnTo>
                <a:lnTo>
                  <a:pt x="655034" y="1698272"/>
                </a:lnTo>
                <a:lnTo>
                  <a:pt x="655008" y="1698257"/>
                </a:lnTo>
                <a:lnTo>
                  <a:pt x="646202" y="1678094"/>
                </a:lnTo>
                <a:close/>
                <a:moveTo>
                  <a:pt x="558151" y="1660309"/>
                </a:moveTo>
                <a:lnTo>
                  <a:pt x="558151" y="1660309"/>
                </a:lnTo>
                <a:lnTo>
                  <a:pt x="566954" y="1661870"/>
                </a:lnTo>
                <a:lnTo>
                  <a:pt x="566955" y="1661870"/>
                </a:lnTo>
                <a:close/>
                <a:moveTo>
                  <a:pt x="472446" y="1656550"/>
                </a:moveTo>
                <a:lnTo>
                  <a:pt x="472345" y="1657185"/>
                </a:lnTo>
                <a:lnTo>
                  <a:pt x="488473" y="1674219"/>
                </a:lnTo>
                <a:close/>
                <a:moveTo>
                  <a:pt x="581675" y="1654878"/>
                </a:moveTo>
                <a:lnTo>
                  <a:pt x="581673" y="1654879"/>
                </a:lnTo>
                <a:lnTo>
                  <a:pt x="589707" y="1681218"/>
                </a:lnTo>
                <a:lnTo>
                  <a:pt x="589709" y="1681217"/>
                </a:lnTo>
                <a:close/>
                <a:moveTo>
                  <a:pt x="1094027" y="1643282"/>
                </a:moveTo>
                <a:lnTo>
                  <a:pt x="1084097" y="1666486"/>
                </a:lnTo>
                <a:lnTo>
                  <a:pt x="1089946" y="1682778"/>
                </a:lnTo>
                <a:lnTo>
                  <a:pt x="1089946" y="1682778"/>
                </a:lnTo>
                <a:lnTo>
                  <a:pt x="1084097" y="1666485"/>
                </a:lnTo>
                <a:close/>
                <a:moveTo>
                  <a:pt x="897063" y="1643267"/>
                </a:moveTo>
                <a:lnTo>
                  <a:pt x="897062" y="1643268"/>
                </a:lnTo>
                <a:lnTo>
                  <a:pt x="919044" y="1675039"/>
                </a:lnTo>
                <a:lnTo>
                  <a:pt x="919044" y="1675038"/>
                </a:lnTo>
                <a:close/>
                <a:moveTo>
                  <a:pt x="475301" y="1638584"/>
                </a:moveTo>
                <a:lnTo>
                  <a:pt x="475269" y="1638789"/>
                </a:lnTo>
                <a:lnTo>
                  <a:pt x="475303" y="1638585"/>
                </a:lnTo>
                <a:close/>
                <a:moveTo>
                  <a:pt x="2679488" y="1630844"/>
                </a:moveTo>
                <a:lnTo>
                  <a:pt x="2655257" y="1647884"/>
                </a:lnTo>
                <a:lnTo>
                  <a:pt x="2642794" y="1712955"/>
                </a:lnTo>
                <a:lnTo>
                  <a:pt x="2655964" y="1647884"/>
                </a:lnTo>
                <a:lnTo>
                  <a:pt x="2679488" y="1630845"/>
                </a:lnTo>
                <a:close/>
                <a:moveTo>
                  <a:pt x="877265" y="1619983"/>
                </a:moveTo>
                <a:lnTo>
                  <a:pt x="860362" y="1630098"/>
                </a:lnTo>
                <a:lnTo>
                  <a:pt x="860362" y="1630098"/>
                </a:lnTo>
                <a:lnTo>
                  <a:pt x="877266" y="1619983"/>
                </a:lnTo>
                <a:close/>
                <a:moveTo>
                  <a:pt x="3038131" y="1603754"/>
                </a:moveTo>
                <a:lnTo>
                  <a:pt x="3038132" y="1603758"/>
                </a:lnTo>
                <a:lnTo>
                  <a:pt x="3039381" y="1620104"/>
                </a:lnTo>
                <a:lnTo>
                  <a:pt x="3038133" y="1603759"/>
                </a:lnTo>
                <a:close/>
                <a:moveTo>
                  <a:pt x="2595143" y="1598608"/>
                </a:moveTo>
                <a:lnTo>
                  <a:pt x="2595098" y="1599075"/>
                </a:lnTo>
                <a:lnTo>
                  <a:pt x="2602425" y="1643269"/>
                </a:lnTo>
                <a:lnTo>
                  <a:pt x="2628841" y="1667233"/>
                </a:lnTo>
                <a:lnTo>
                  <a:pt x="2635461" y="1688956"/>
                </a:lnTo>
                <a:lnTo>
                  <a:pt x="2635461" y="1688955"/>
                </a:lnTo>
                <a:lnTo>
                  <a:pt x="2628841" y="1667231"/>
                </a:lnTo>
                <a:lnTo>
                  <a:pt x="2602425" y="1643267"/>
                </a:lnTo>
                <a:close/>
                <a:moveTo>
                  <a:pt x="172486" y="1587354"/>
                </a:moveTo>
                <a:lnTo>
                  <a:pt x="163577" y="1593642"/>
                </a:lnTo>
                <a:lnTo>
                  <a:pt x="148152" y="1592896"/>
                </a:lnTo>
                <a:lnTo>
                  <a:pt x="148151" y="1592896"/>
                </a:lnTo>
                <a:lnTo>
                  <a:pt x="163577" y="1593643"/>
                </a:lnTo>
                <a:close/>
                <a:moveTo>
                  <a:pt x="176753" y="1584342"/>
                </a:moveTo>
                <a:lnTo>
                  <a:pt x="176752" y="1584342"/>
                </a:lnTo>
                <a:lnTo>
                  <a:pt x="188514" y="1584342"/>
                </a:lnTo>
                <a:lnTo>
                  <a:pt x="188515" y="1584342"/>
                </a:lnTo>
                <a:close/>
                <a:moveTo>
                  <a:pt x="2576008" y="1547954"/>
                </a:moveTo>
                <a:lnTo>
                  <a:pt x="2573116" y="1562686"/>
                </a:lnTo>
                <a:lnTo>
                  <a:pt x="2541558" y="1565741"/>
                </a:lnTo>
                <a:lnTo>
                  <a:pt x="2549129" y="1575571"/>
                </a:lnTo>
                <a:lnTo>
                  <a:pt x="2542265" y="1565742"/>
                </a:lnTo>
                <a:lnTo>
                  <a:pt x="2573116" y="1562688"/>
                </a:lnTo>
                <a:lnTo>
                  <a:pt x="2576009" y="1548703"/>
                </a:lnTo>
                <a:lnTo>
                  <a:pt x="2599532" y="1553387"/>
                </a:lnTo>
                <a:lnTo>
                  <a:pt x="2599532" y="1553385"/>
                </a:lnTo>
                <a:close/>
                <a:moveTo>
                  <a:pt x="432046" y="1545648"/>
                </a:moveTo>
                <a:lnTo>
                  <a:pt x="444515" y="1558817"/>
                </a:lnTo>
                <a:lnTo>
                  <a:pt x="449592" y="1575857"/>
                </a:lnTo>
                <a:lnTo>
                  <a:pt x="470867" y="1601382"/>
                </a:lnTo>
                <a:lnTo>
                  <a:pt x="459876" y="1616928"/>
                </a:lnTo>
                <a:lnTo>
                  <a:pt x="457691" y="1637837"/>
                </a:lnTo>
                <a:lnTo>
                  <a:pt x="457692" y="1637836"/>
                </a:lnTo>
                <a:lnTo>
                  <a:pt x="459877" y="1616929"/>
                </a:lnTo>
                <a:lnTo>
                  <a:pt x="470868" y="1601383"/>
                </a:lnTo>
                <a:lnTo>
                  <a:pt x="449593" y="1575043"/>
                </a:lnTo>
                <a:lnTo>
                  <a:pt x="444516" y="1558818"/>
                </a:lnTo>
                <a:lnTo>
                  <a:pt x="432047" y="1545648"/>
                </a:lnTo>
                <a:close/>
                <a:moveTo>
                  <a:pt x="275026" y="1535534"/>
                </a:moveTo>
                <a:lnTo>
                  <a:pt x="271362" y="1542526"/>
                </a:lnTo>
                <a:lnTo>
                  <a:pt x="260115" y="1543310"/>
                </a:lnTo>
                <a:lnTo>
                  <a:pt x="272134" y="1542524"/>
                </a:lnTo>
                <a:lnTo>
                  <a:pt x="275734" y="1535653"/>
                </a:lnTo>
                <a:close/>
                <a:moveTo>
                  <a:pt x="199526" y="1527844"/>
                </a:moveTo>
                <a:lnTo>
                  <a:pt x="222965" y="1529354"/>
                </a:lnTo>
                <a:lnTo>
                  <a:pt x="259555" y="1543297"/>
                </a:lnTo>
                <a:lnTo>
                  <a:pt x="222964" y="1528609"/>
                </a:lnTo>
                <a:close/>
                <a:moveTo>
                  <a:pt x="3063390" y="1526401"/>
                </a:moveTo>
                <a:lnTo>
                  <a:pt x="3067505" y="1530915"/>
                </a:lnTo>
                <a:lnTo>
                  <a:pt x="3049894" y="1558002"/>
                </a:lnTo>
                <a:lnTo>
                  <a:pt x="3049879" y="1558029"/>
                </a:lnTo>
                <a:lnTo>
                  <a:pt x="3049894" y="1558003"/>
                </a:lnTo>
                <a:lnTo>
                  <a:pt x="3067505" y="1530916"/>
                </a:lnTo>
                <a:lnTo>
                  <a:pt x="3089486" y="1535533"/>
                </a:lnTo>
                <a:lnTo>
                  <a:pt x="3089487" y="1535532"/>
                </a:lnTo>
                <a:lnTo>
                  <a:pt x="3067506" y="1530916"/>
                </a:lnTo>
                <a:close/>
                <a:moveTo>
                  <a:pt x="104123" y="1524740"/>
                </a:moveTo>
                <a:lnTo>
                  <a:pt x="90199" y="1531653"/>
                </a:lnTo>
                <a:lnTo>
                  <a:pt x="104125" y="1525485"/>
                </a:lnTo>
                <a:lnTo>
                  <a:pt x="195658" y="1527718"/>
                </a:lnTo>
                <a:close/>
                <a:moveTo>
                  <a:pt x="2026664" y="1504575"/>
                </a:moveTo>
                <a:lnTo>
                  <a:pt x="2022230" y="1527793"/>
                </a:lnTo>
                <a:lnTo>
                  <a:pt x="2040547" y="1523923"/>
                </a:lnTo>
                <a:lnTo>
                  <a:pt x="2051602" y="1548702"/>
                </a:lnTo>
                <a:lnTo>
                  <a:pt x="2052309" y="1584342"/>
                </a:lnTo>
                <a:lnTo>
                  <a:pt x="2071399" y="1601382"/>
                </a:lnTo>
                <a:lnTo>
                  <a:pt x="2071399" y="1616928"/>
                </a:lnTo>
                <a:lnTo>
                  <a:pt x="2039840" y="1627722"/>
                </a:lnTo>
                <a:lnTo>
                  <a:pt x="2014195" y="1651754"/>
                </a:lnTo>
                <a:lnTo>
                  <a:pt x="2014195" y="1651754"/>
                </a:lnTo>
                <a:lnTo>
                  <a:pt x="2039840" y="1627723"/>
                </a:lnTo>
                <a:lnTo>
                  <a:pt x="2071398" y="1616929"/>
                </a:lnTo>
                <a:lnTo>
                  <a:pt x="2078018" y="1643269"/>
                </a:lnTo>
                <a:lnTo>
                  <a:pt x="2108034" y="1681964"/>
                </a:lnTo>
                <a:lnTo>
                  <a:pt x="2108034" y="1707558"/>
                </a:lnTo>
                <a:lnTo>
                  <a:pt x="2100706" y="1732336"/>
                </a:lnTo>
                <a:lnTo>
                  <a:pt x="2103663" y="1751684"/>
                </a:lnTo>
                <a:lnTo>
                  <a:pt x="2121981" y="1769538"/>
                </a:lnTo>
                <a:lnTo>
                  <a:pt x="2126416" y="1771846"/>
                </a:lnTo>
                <a:lnTo>
                  <a:pt x="2126416" y="1771847"/>
                </a:lnTo>
                <a:lnTo>
                  <a:pt x="2142549" y="1765669"/>
                </a:lnTo>
                <a:lnTo>
                  <a:pt x="2159388" y="1754061"/>
                </a:lnTo>
                <a:lnTo>
                  <a:pt x="2171857" y="1698258"/>
                </a:lnTo>
                <a:lnTo>
                  <a:pt x="2185098" y="1670356"/>
                </a:lnTo>
                <a:lnTo>
                  <a:pt x="2221734" y="1661870"/>
                </a:lnTo>
                <a:lnTo>
                  <a:pt x="2231310" y="1678910"/>
                </a:lnTo>
                <a:lnTo>
                  <a:pt x="2258434" y="1715297"/>
                </a:lnTo>
                <a:lnTo>
                  <a:pt x="2272381" y="1719982"/>
                </a:lnTo>
                <a:lnTo>
                  <a:pt x="2290699" y="1709120"/>
                </a:lnTo>
                <a:lnTo>
                  <a:pt x="2328106" y="1712175"/>
                </a:lnTo>
                <a:lnTo>
                  <a:pt x="2335433" y="1724598"/>
                </a:lnTo>
                <a:lnTo>
                  <a:pt x="2386081" y="1724598"/>
                </a:lnTo>
                <a:lnTo>
                  <a:pt x="2388266" y="1712175"/>
                </a:lnTo>
                <a:lnTo>
                  <a:pt x="2414682" y="1700566"/>
                </a:lnTo>
                <a:lnTo>
                  <a:pt x="2419053" y="1681965"/>
                </a:lnTo>
                <a:lnTo>
                  <a:pt x="2438142" y="1669609"/>
                </a:lnTo>
                <a:lnTo>
                  <a:pt x="2482169" y="1705250"/>
                </a:lnTo>
                <a:lnTo>
                  <a:pt x="2507814" y="1698258"/>
                </a:lnTo>
                <a:lnTo>
                  <a:pt x="2532753" y="1654878"/>
                </a:lnTo>
                <a:lnTo>
                  <a:pt x="2560647" y="1620799"/>
                </a:lnTo>
                <a:lnTo>
                  <a:pt x="2555420" y="1587912"/>
                </a:lnTo>
                <a:lnTo>
                  <a:pt x="2559876" y="1620797"/>
                </a:lnTo>
                <a:lnTo>
                  <a:pt x="2532752" y="1654876"/>
                </a:lnTo>
                <a:lnTo>
                  <a:pt x="2507814" y="1698256"/>
                </a:lnTo>
                <a:lnTo>
                  <a:pt x="2482169" y="1705248"/>
                </a:lnTo>
                <a:lnTo>
                  <a:pt x="2438142" y="1669607"/>
                </a:lnTo>
                <a:lnTo>
                  <a:pt x="2419053" y="1681963"/>
                </a:lnTo>
                <a:lnTo>
                  <a:pt x="2414682" y="1700564"/>
                </a:lnTo>
                <a:lnTo>
                  <a:pt x="2387495" y="1712172"/>
                </a:lnTo>
                <a:lnTo>
                  <a:pt x="2386081" y="1724596"/>
                </a:lnTo>
                <a:lnTo>
                  <a:pt x="2335433" y="1724596"/>
                </a:lnTo>
                <a:lnTo>
                  <a:pt x="2328106" y="1712172"/>
                </a:lnTo>
                <a:lnTo>
                  <a:pt x="2290699" y="1709118"/>
                </a:lnTo>
                <a:lnTo>
                  <a:pt x="2272381" y="1719979"/>
                </a:lnTo>
                <a:lnTo>
                  <a:pt x="2258434" y="1714548"/>
                </a:lnTo>
                <a:lnTo>
                  <a:pt x="2231311" y="1678908"/>
                </a:lnTo>
                <a:lnTo>
                  <a:pt x="2221734" y="1661868"/>
                </a:lnTo>
                <a:lnTo>
                  <a:pt x="2185098" y="1670354"/>
                </a:lnTo>
                <a:lnTo>
                  <a:pt x="2171151" y="1698256"/>
                </a:lnTo>
                <a:lnTo>
                  <a:pt x="2159389" y="1753244"/>
                </a:lnTo>
                <a:lnTo>
                  <a:pt x="2141778" y="1764853"/>
                </a:lnTo>
                <a:lnTo>
                  <a:pt x="2126417" y="1771845"/>
                </a:lnTo>
                <a:lnTo>
                  <a:pt x="2121982" y="1768722"/>
                </a:lnTo>
                <a:lnTo>
                  <a:pt x="2103664" y="1751683"/>
                </a:lnTo>
                <a:lnTo>
                  <a:pt x="2100708" y="1732335"/>
                </a:lnTo>
                <a:lnTo>
                  <a:pt x="2108035" y="1707556"/>
                </a:lnTo>
                <a:lnTo>
                  <a:pt x="2108035" y="1681963"/>
                </a:lnTo>
                <a:lnTo>
                  <a:pt x="2078019" y="1643267"/>
                </a:lnTo>
                <a:lnTo>
                  <a:pt x="2071399" y="1616927"/>
                </a:lnTo>
                <a:lnTo>
                  <a:pt x="2071399" y="1601381"/>
                </a:lnTo>
                <a:lnTo>
                  <a:pt x="2052310" y="1584342"/>
                </a:lnTo>
                <a:lnTo>
                  <a:pt x="2051603" y="1547954"/>
                </a:lnTo>
                <a:lnTo>
                  <a:pt x="2040548" y="1523922"/>
                </a:lnTo>
                <a:lnTo>
                  <a:pt x="2022230" y="1527792"/>
                </a:lnTo>
                <a:close/>
                <a:moveTo>
                  <a:pt x="1645973" y="1482852"/>
                </a:moveTo>
                <a:lnTo>
                  <a:pt x="1641539" y="1510752"/>
                </a:lnTo>
                <a:lnTo>
                  <a:pt x="1626884" y="1514621"/>
                </a:lnTo>
                <a:lnTo>
                  <a:pt x="1624699" y="1534037"/>
                </a:lnTo>
                <a:lnTo>
                  <a:pt x="1615894" y="1535531"/>
                </a:lnTo>
                <a:lnTo>
                  <a:pt x="1591589" y="1489974"/>
                </a:lnTo>
                <a:lnTo>
                  <a:pt x="1615894" y="1535531"/>
                </a:lnTo>
                <a:lnTo>
                  <a:pt x="1625406" y="1534038"/>
                </a:lnTo>
                <a:lnTo>
                  <a:pt x="1625407" y="1534039"/>
                </a:lnTo>
                <a:lnTo>
                  <a:pt x="1626885" y="1514623"/>
                </a:lnTo>
                <a:lnTo>
                  <a:pt x="1641539" y="1510754"/>
                </a:lnTo>
                <a:lnTo>
                  <a:pt x="1662107" y="1550264"/>
                </a:lnTo>
                <a:lnTo>
                  <a:pt x="1666477" y="1591336"/>
                </a:lnTo>
                <a:lnTo>
                  <a:pt x="1664292" y="1632407"/>
                </a:lnTo>
                <a:lnTo>
                  <a:pt x="1692893" y="1688956"/>
                </a:lnTo>
                <a:lnTo>
                  <a:pt x="1692894" y="1688956"/>
                </a:lnTo>
                <a:lnTo>
                  <a:pt x="1664293" y="1632406"/>
                </a:lnTo>
                <a:lnTo>
                  <a:pt x="1666478" y="1591335"/>
                </a:lnTo>
                <a:lnTo>
                  <a:pt x="1662107" y="1550263"/>
                </a:lnTo>
                <a:lnTo>
                  <a:pt x="1641540" y="1510753"/>
                </a:lnTo>
                <a:lnTo>
                  <a:pt x="1645975" y="1482852"/>
                </a:lnTo>
                <a:close/>
                <a:moveTo>
                  <a:pt x="1461831" y="1478981"/>
                </a:moveTo>
                <a:lnTo>
                  <a:pt x="1447176" y="1487535"/>
                </a:lnTo>
                <a:lnTo>
                  <a:pt x="1417097" y="1485226"/>
                </a:lnTo>
                <a:lnTo>
                  <a:pt x="1387017" y="1511567"/>
                </a:lnTo>
                <a:lnTo>
                  <a:pt x="1361372" y="1513875"/>
                </a:lnTo>
                <a:lnTo>
                  <a:pt x="1299027" y="1481357"/>
                </a:lnTo>
                <a:lnTo>
                  <a:pt x="1274796" y="1496020"/>
                </a:lnTo>
                <a:lnTo>
                  <a:pt x="1248380" y="1495274"/>
                </a:lnTo>
                <a:lnTo>
                  <a:pt x="1248364" y="1495255"/>
                </a:lnTo>
                <a:lnTo>
                  <a:pt x="1248380" y="1495274"/>
                </a:lnTo>
                <a:lnTo>
                  <a:pt x="1274796" y="1496021"/>
                </a:lnTo>
                <a:lnTo>
                  <a:pt x="1299027" y="1481358"/>
                </a:lnTo>
                <a:lnTo>
                  <a:pt x="1361372" y="1513875"/>
                </a:lnTo>
                <a:lnTo>
                  <a:pt x="1387017" y="1511567"/>
                </a:lnTo>
                <a:lnTo>
                  <a:pt x="1417097" y="1485227"/>
                </a:lnTo>
                <a:lnTo>
                  <a:pt x="1447177" y="1487535"/>
                </a:lnTo>
                <a:lnTo>
                  <a:pt x="1461831" y="1478982"/>
                </a:lnTo>
                <a:lnTo>
                  <a:pt x="1462027" y="1479009"/>
                </a:lnTo>
                <a:close/>
                <a:moveTo>
                  <a:pt x="1568203" y="1465811"/>
                </a:moveTo>
                <a:lnTo>
                  <a:pt x="1528611" y="1499890"/>
                </a:lnTo>
                <a:lnTo>
                  <a:pt x="1528528" y="1499854"/>
                </a:lnTo>
                <a:lnTo>
                  <a:pt x="1528611" y="1499891"/>
                </a:lnTo>
                <a:lnTo>
                  <a:pt x="1568203" y="1465811"/>
                </a:lnTo>
                <a:lnTo>
                  <a:pt x="1579965" y="1468188"/>
                </a:lnTo>
                <a:lnTo>
                  <a:pt x="1579965" y="1468187"/>
                </a:lnTo>
                <a:close/>
                <a:moveTo>
                  <a:pt x="2754301" y="1461964"/>
                </a:moveTo>
                <a:lnTo>
                  <a:pt x="2753531" y="1468187"/>
                </a:lnTo>
                <a:lnTo>
                  <a:pt x="2747429" y="1487240"/>
                </a:lnTo>
                <a:lnTo>
                  <a:pt x="2753531" y="1468188"/>
                </a:lnTo>
                <a:close/>
                <a:moveTo>
                  <a:pt x="3005131" y="1456182"/>
                </a:moveTo>
                <a:lnTo>
                  <a:pt x="3026370" y="1475112"/>
                </a:lnTo>
                <a:lnTo>
                  <a:pt x="3049123" y="1510753"/>
                </a:lnTo>
                <a:lnTo>
                  <a:pt x="3026371" y="1475113"/>
                </a:lnTo>
                <a:close/>
                <a:moveTo>
                  <a:pt x="2033221" y="1453456"/>
                </a:moveTo>
                <a:lnTo>
                  <a:pt x="2033220" y="1453457"/>
                </a:lnTo>
                <a:lnTo>
                  <a:pt x="2039840" y="1479797"/>
                </a:lnTo>
                <a:lnTo>
                  <a:pt x="2036427" y="1486215"/>
                </a:lnTo>
                <a:lnTo>
                  <a:pt x="2039841" y="1479796"/>
                </a:lnTo>
                <a:close/>
                <a:moveTo>
                  <a:pt x="2988256" y="1433294"/>
                </a:moveTo>
                <a:lnTo>
                  <a:pt x="3002911" y="1454203"/>
                </a:lnTo>
                <a:lnTo>
                  <a:pt x="3002911" y="1454203"/>
                </a:lnTo>
                <a:lnTo>
                  <a:pt x="2988257" y="1433294"/>
                </a:lnTo>
                <a:close/>
                <a:moveTo>
                  <a:pt x="2038540" y="1420361"/>
                </a:moveTo>
                <a:lnTo>
                  <a:pt x="2038362" y="1420871"/>
                </a:lnTo>
                <a:lnTo>
                  <a:pt x="2049353" y="1434855"/>
                </a:lnTo>
                <a:lnTo>
                  <a:pt x="2049353" y="1434855"/>
                </a:lnTo>
                <a:close/>
                <a:moveTo>
                  <a:pt x="919043" y="1383738"/>
                </a:moveTo>
                <a:lnTo>
                  <a:pt x="914672" y="1413946"/>
                </a:lnTo>
                <a:lnTo>
                  <a:pt x="921999" y="1441848"/>
                </a:lnTo>
                <a:lnTo>
                  <a:pt x="950601" y="1481358"/>
                </a:lnTo>
                <a:lnTo>
                  <a:pt x="952079" y="1511568"/>
                </a:lnTo>
                <a:lnTo>
                  <a:pt x="1010761" y="1525484"/>
                </a:lnTo>
                <a:lnTo>
                  <a:pt x="1009990" y="1568117"/>
                </a:lnTo>
                <a:lnTo>
                  <a:pt x="998999" y="1585904"/>
                </a:lnTo>
                <a:lnTo>
                  <a:pt x="974061" y="1592082"/>
                </a:lnTo>
                <a:lnTo>
                  <a:pt x="963070" y="1619236"/>
                </a:lnTo>
                <a:lnTo>
                  <a:pt x="945459" y="1626229"/>
                </a:lnTo>
                <a:lnTo>
                  <a:pt x="945448" y="1626293"/>
                </a:lnTo>
                <a:lnTo>
                  <a:pt x="945461" y="1626229"/>
                </a:lnTo>
                <a:lnTo>
                  <a:pt x="963072" y="1619236"/>
                </a:lnTo>
                <a:lnTo>
                  <a:pt x="974062" y="1592082"/>
                </a:lnTo>
                <a:lnTo>
                  <a:pt x="999000" y="1585904"/>
                </a:lnTo>
                <a:lnTo>
                  <a:pt x="1009991" y="1568118"/>
                </a:lnTo>
                <a:lnTo>
                  <a:pt x="1027602" y="1549517"/>
                </a:lnTo>
                <a:lnTo>
                  <a:pt x="1045984" y="1549517"/>
                </a:lnTo>
                <a:lnTo>
                  <a:pt x="1084804" y="1585157"/>
                </a:lnTo>
                <a:lnTo>
                  <a:pt x="1083390" y="1605320"/>
                </a:lnTo>
                <a:lnTo>
                  <a:pt x="1094381" y="1642454"/>
                </a:lnTo>
                <a:lnTo>
                  <a:pt x="1094381" y="1642453"/>
                </a:lnTo>
                <a:lnTo>
                  <a:pt x="1083390" y="1605319"/>
                </a:lnTo>
                <a:lnTo>
                  <a:pt x="1084804" y="1585157"/>
                </a:lnTo>
                <a:lnTo>
                  <a:pt x="1087761" y="1530168"/>
                </a:lnTo>
                <a:lnTo>
                  <a:pt x="1102415" y="1504575"/>
                </a:lnTo>
                <a:lnTo>
                  <a:pt x="1109742" y="1469681"/>
                </a:lnTo>
                <a:lnTo>
                  <a:pt x="1122983" y="1456511"/>
                </a:lnTo>
                <a:lnTo>
                  <a:pt x="1177413" y="1448855"/>
                </a:lnTo>
                <a:lnTo>
                  <a:pt x="1177229" y="1448771"/>
                </a:lnTo>
                <a:lnTo>
                  <a:pt x="1122211" y="1456510"/>
                </a:lnTo>
                <a:lnTo>
                  <a:pt x="1109742" y="1469680"/>
                </a:lnTo>
                <a:lnTo>
                  <a:pt x="1102415" y="1504574"/>
                </a:lnTo>
                <a:lnTo>
                  <a:pt x="1087761" y="1530168"/>
                </a:lnTo>
                <a:lnTo>
                  <a:pt x="1084804" y="1585156"/>
                </a:lnTo>
                <a:lnTo>
                  <a:pt x="1045983" y="1549515"/>
                </a:lnTo>
                <a:lnTo>
                  <a:pt x="1027601" y="1549515"/>
                </a:lnTo>
                <a:lnTo>
                  <a:pt x="1009990" y="1568116"/>
                </a:lnTo>
                <a:lnTo>
                  <a:pt x="1010762" y="1525483"/>
                </a:lnTo>
                <a:lnTo>
                  <a:pt x="952080" y="1511567"/>
                </a:lnTo>
                <a:lnTo>
                  <a:pt x="950602" y="1481357"/>
                </a:lnTo>
                <a:lnTo>
                  <a:pt x="922000" y="1441847"/>
                </a:lnTo>
                <a:lnTo>
                  <a:pt x="914673" y="1413945"/>
                </a:lnTo>
                <a:lnTo>
                  <a:pt x="919043" y="1383738"/>
                </a:lnTo>
                <a:close/>
                <a:moveTo>
                  <a:pt x="2833487" y="1382175"/>
                </a:moveTo>
                <a:lnTo>
                  <a:pt x="2833487" y="1382176"/>
                </a:lnTo>
                <a:lnTo>
                  <a:pt x="2865752" y="1410076"/>
                </a:lnTo>
                <a:lnTo>
                  <a:pt x="2865752" y="1410076"/>
                </a:lnTo>
                <a:close/>
                <a:moveTo>
                  <a:pt x="873604" y="1372061"/>
                </a:moveTo>
                <a:lnTo>
                  <a:pt x="873603" y="1372062"/>
                </a:lnTo>
                <a:lnTo>
                  <a:pt x="886071" y="1383736"/>
                </a:lnTo>
                <a:lnTo>
                  <a:pt x="886072" y="1383736"/>
                </a:lnTo>
                <a:close/>
                <a:moveTo>
                  <a:pt x="2059556" y="1366391"/>
                </a:moveTo>
                <a:lnTo>
                  <a:pt x="2051602" y="1382922"/>
                </a:lnTo>
                <a:lnTo>
                  <a:pt x="2051591" y="1382956"/>
                </a:lnTo>
                <a:lnTo>
                  <a:pt x="2051603" y="1382921"/>
                </a:lnTo>
                <a:close/>
                <a:moveTo>
                  <a:pt x="629300" y="1305463"/>
                </a:moveTo>
                <a:lnTo>
                  <a:pt x="617602" y="1348096"/>
                </a:lnTo>
                <a:lnTo>
                  <a:pt x="412956" y="1348842"/>
                </a:lnTo>
                <a:lnTo>
                  <a:pt x="404858" y="1362012"/>
                </a:lnTo>
                <a:lnTo>
                  <a:pt x="385062" y="1358143"/>
                </a:lnTo>
                <a:lnTo>
                  <a:pt x="356126" y="1371145"/>
                </a:lnTo>
                <a:lnTo>
                  <a:pt x="356461" y="1371314"/>
                </a:lnTo>
                <a:lnTo>
                  <a:pt x="385834" y="1358891"/>
                </a:lnTo>
                <a:lnTo>
                  <a:pt x="404859" y="1362761"/>
                </a:lnTo>
                <a:lnTo>
                  <a:pt x="412957" y="1348844"/>
                </a:lnTo>
                <a:lnTo>
                  <a:pt x="617603" y="1348097"/>
                </a:lnTo>
                <a:lnTo>
                  <a:pt x="629301" y="1305464"/>
                </a:lnTo>
                <a:close/>
                <a:moveTo>
                  <a:pt x="1116362" y="1123391"/>
                </a:moveTo>
                <a:lnTo>
                  <a:pt x="1116362" y="1123391"/>
                </a:lnTo>
                <a:lnTo>
                  <a:pt x="1060637" y="1128748"/>
                </a:lnTo>
                <a:lnTo>
                  <a:pt x="1060640" y="1128823"/>
                </a:lnTo>
                <a:lnTo>
                  <a:pt x="1116362" y="1123392"/>
                </a:lnTo>
                <a:close/>
                <a:moveTo>
                  <a:pt x="2107326" y="1070712"/>
                </a:moveTo>
                <a:lnTo>
                  <a:pt x="2107326" y="1097051"/>
                </a:lnTo>
                <a:lnTo>
                  <a:pt x="2107327" y="1097051"/>
                </a:lnTo>
                <a:lnTo>
                  <a:pt x="2117611" y="1341103"/>
                </a:lnTo>
                <a:lnTo>
                  <a:pt x="2117611" y="1341103"/>
                </a:lnTo>
                <a:lnTo>
                  <a:pt x="2107328" y="1097050"/>
                </a:lnTo>
                <a:lnTo>
                  <a:pt x="2107328" y="1070712"/>
                </a:lnTo>
                <a:close/>
                <a:moveTo>
                  <a:pt x="1004158" y="1062234"/>
                </a:moveTo>
                <a:lnTo>
                  <a:pt x="1035702" y="1080012"/>
                </a:lnTo>
                <a:lnTo>
                  <a:pt x="1059146" y="1090053"/>
                </a:lnTo>
                <a:lnTo>
                  <a:pt x="1035699" y="1079265"/>
                </a:lnTo>
                <a:close/>
                <a:moveTo>
                  <a:pt x="1703884" y="1047492"/>
                </a:moveTo>
                <a:lnTo>
                  <a:pt x="1693664" y="1073832"/>
                </a:lnTo>
                <a:lnTo>
                  <a:pt x="1677467" y="1198540"/>
                </a:lnTo>
                <a:lnTo>
                  <a:pt x="1675282" y="1279122"/>
                </a:lnTo>
                <a:lnTo>
                  <a:pt x="1612230" y="1337233"/>
                </a:lnTo>
                <a:lnTo>
                  <a:pt x="1590956" y="1418562"/>
                </a:lnTo>
                <a:lnTo>
                  <a:pt x="1612937" y="1441032"/>
                </a:lnTo>
                <a:lnTo>
                  <a:pt x="1612937" y="1480542"/>
                </a:lnTo>
                <a:lnTo>
                  <a:pt x="1612939" y="1480543"/>
                </a:lnTo>
                <a:lnTo>
                  <a:pt x="1612939" y="1441033"/>
                </a:lnTo>
                <a:lnTo>
                  <a:pt x="1590957" y="1418563"/>
                </a:lnTo>
                <a:lnTo>
                  <a:pt x="1612232" y="1337234"/>
                </a:lnTo>
                <a:lnTo>
                  <a:pt x="1675283" y="1279123"/>
                </a:lnTo>
                <a:lnTo>
                  <a:pt x="1677469" y="1198542"/>
                </a:lnTo>
                <a:lnTo>
                  <a:pt x="1693666" y="1073834"/>
                </a:lnTo>
                <a:lnTo>
                  <a:pt x="1703885" y="1047493"/>
                </a:lnTo>
                <a:close/>
                <a:moveTo>
                  <a:pt x="1680123" y="1005518"/>
                </a:moveTo>
                <a:lnTo>
                  <a:pt x="1681195" y="1006421"/>
                </a:lnTo>
                <a:lnTo>
                  <a:pt x="1682609" y="1026583"/>
                </a:lnTo>
                <a:lnTo>
                  <a:pt x="1682611" y="1026584"/>
                </a:lnTo>
                <a:lnTo>
                  <a:pt x="1681197" y="1006422"/>
                </a:lnTo>
                <a:close/>
                <a:moveTo>
                  <a:pt x="898269" y="959380"/>
                </a:moveTo>
                <a:lnTo>
                  <a:pt x="992381" y="1033510"/>
                </a:lnTo>
                <a:lnTo>
                  <a:pt x="1004061" y="1062024"/>
                </a:lnTo>
                <a:lnTo>
                  <a:pt x="992379" y="1032762"/>
                </a:lnTo>
                <a:close/>
                <a:moveTo>
                  <a:pt x="1697327" y="860738"/>
                </a:moveTo>
                <a:lnTo>
                  <a:pt x="1648159" y="894884"/>
                </a:lnTo>
                <a:lnTo>
                  <a:pt x="1662813" y="990942"/>
                </a:lnTo>
                <a:lnTo>
                  <a:pt x="1662814" y="990943"/>
                </a:lnTo>
                <a:lnTo>
                  <a:pt x="1648160" y="894884"/>
                </a:lnTo>
                <a:lnTo>
                  <a:pt x="1697328" y="860738"/>
                </a:lnTo>
                <a:close/>
                <a:moveTo>
                  <a:pt x="1502662" y="857033"/>
                </a:moveTo>
                <a:lnTo>
                  <a:pt x="1332770" y="974651"/>
                </a:lnTo>
                <a:lnTo>
                  <a:pt x="1187677" y="1096166"/>
                </a:lnTo>
                <a:lnTo>
                  <a:pt x="1332770" y="975396"/>
                </a:lnTo>
                <a:close/>
                <a:moveTo>
                  <a:pt x="652832" y="764684"/>
                </a:moveTo>
                <a:lnTo>
                  <a:pt x="575761" y="765491"/>
                </a:lnTo>
                <a:lnTo>
                  <a:pt x="597806" y="1031200"/>
                </a:lnTo>
                <a:lnTo>
                  <a:pt x="619787" y="1297724"/>
                </a:lnTo>
                <a:lnTo>
                  <a:pt x="629294" y="1305458"/>
                </a:lnTo>
                <a:lnTo>
                  <a:pt x="620496" y="1297725"/>
                </a:lnTo>
                <a:lnTo>
                  <a:pt x="598515" y="1031202"/>
                </a:lnTo>
                <a:lnTo>
                  <a:pt x="576533" y="766239"/>
                </a:lnTo>
                <a:lnTo>
                  <a:pt x="652842" y="764692"/>
                </a:lnTo>
                <a:close/>
                <a:moveTo>
                  <a:pt x="1396593" y="740714"/>
                </a:moveTo>
                <a:lnTo>
                  <a:pt x="1398778" y="767053"/>
                </a:lnTo>
                <a:lnTo>
                  <a:pt x="1398778" y="767054"/>
                </a:lnTo>
                <a:lnTo>
                  <a:pt x="1396593" y="740714"/>
                </a:lnTo>
                <a:close/>
                <a:moveTo>
                  <a:pt x="1381884" y="644043"/>
                </a:moveTo>
                <a:lnTo>
                  <a:pt x="1384831" y="670179"/>
                </a:lnTo>
                <a:lnTo>
                  <a:pt x="1365742" y="694957"/>
                </a:lnTo>
                <a:lnTo>
                  <a:pt x="1365742" y="694958"/>
                </a:lnTo>
                <a:lnTo>
                  <a:pt x="1384831" y="670180"/>
                </a:lnTo>
                <a:close/>
                <a:moveTo>
                  <a:pt x="467255" y="614418"/>
                </a:moveTo>
                <a:lnTo>
                  <a:pt x="467204" y="615190"/>
                </a:lnTo>
                <a:lnTo>
                  <a:pt x="467204" y="615191"/>
                </a:lnTo>
                <a:lnTo>
                  <a:pt x="576580" y="702941"/>
                </a:lnTo>
                <a:close/>
                <a:moveTo>
                  <a:pt x="1383054" y="581480"/>
                </a:moveTo>
                <a:lnTo>
                  <a:pt x="1385538" y="597336"/>
                </a:lnTo>
                <a:lnTo>
                  <a:pt x="1380460" y="631415"/>
                </a:lnTo>
                <a:lnTo>
                  <a:pt x="1380460" y="631416"/>
                </a:lnTo>
                <a:lnTo>
                  <a:pt x="1385538" y="597337"/>
                </a:lnTo>
                <a:close/>
                <a:moveTo>
                  <a:pt x="1383634" y="483783"/>
                </a:moveTo>
                <a:lnTo>
                  <a:pt x="1385538" y="489668"/>
                </a:lnTo>
                <a:lnTo>
                  <a:pt x="1389201" y="519131"/>
                </a:lnTo>
                <a:lnTo>
                  <a:pt x="1381167" y="569435"/>
                </a:lnTo>
                <a:lnTo>
                  <a:pt x="1381167" y="569435"/>
                </a:lnTo>
                <a:lnTo>
                  <a:pt x="1389202" y="519131"/>
                </a:lnTo>
                <a:lnTo>
                  <a:pt x="1385538" y="489668"/>
                </a:lnTo>
                <a:lnTo>
                  <a:pt x="1385538" y="489668"/>
                </a:lnTo>
                <a:lnTo>
                  <a:pt x="1385538" y="489668"/>
                </a:lnTo>
                <a:close/>
                <a:moveTo>
                  <a:pt x="718320" y="384859"/>
                </a:moveTo>
                <a:lnTo>
                  <a:pt x="717354" y="399784"/>
                </a:lnTo>
                <a:lnTo>
                  <a:pt x="659380" y="423816"/>
                </a:lnTo>
                <a:lnTo>
                  <a:pt x="640355" y="454773"/>
                </a:lnTo>
                <a:lnTo>
                  <a:pt x="599992" y="471065"/>
                </a:lnTo>
                <a:lnTo>
                  <a:pt x="550116" y="481113"/>
                </a:lnTo>
                <a:lnTo>
                  <a:pt x="468682" y="526868"/>
                </a:lnTo>
                <a:lnTo>
                  <a:pt x="467974" y="598896"/>
                </a:lnTo>
                <a:lnTo>
                  <a:pt x="460647" y="598896"/>
                </a:lnTo>
                <a:lnTo>
                  <a:pt x="460663" y="599644"/>
                </a:lnTo>
                <a:lnTo>
                  <a:pt x="467975" y="599644"/>
                </a:lnTo>
                <a:lnTo>
                  <a:pt x="467975" y="598898"/>
                </a:lnTo>
                <a:lnTo>
                  <a:pt x="468682" y="526870"/>
                </a:lnTo>
                <a:lnTo>
                  <a:pt x="550116" y="481114"/>
                </a:lnTo>
                <a:lnTo>
                  <a:pt x="599992" y="471067"/>
                </a:lnTo>
                <a:lnTo>
                  <a:pt x="640355" y="454774"/>
                </a:lnTo>
                <a:lnTo>
                  <a:pt x="659380" y="423817"/>
                </a:lnTo>
                <a:lnTo>
                  <a:pt x="717354" y="399785"/>
                </a:lnTo>
                <a:close/>
                <a:moveTo>
                  <a:pt x="1400726" y="362676"/>
                </a:moveTo>
                <a:lnTo>
                  <a:pt x="1389202" y="371138"/>
                </a:lnTo>
                <a:lnTo>
                  <a:pt x="1389202" y="371138"/>
                </a:lnTo>
                <a:close/>
                <a:moveTo>
                  <a:pt x="1344468" y="326197"/>
                </a:moveTo>
                <a:lnTo>
                  <a:pt x="1367991" y="435426"/>
                </a:lnTo>
                <a:lnTo>
                  <a:pt x="1367992" y="435427"/>
                </a:lnTo>
                <a:close/>
                <a:moveTo>
                  <a:pt x="845000" y="292117"/>
                </a:moveTo>
                <a:lnTo>
                  <a:pt x="835424" y="316148"/>
                </a:lnTo>
                <a:lnTo>
                  <a:pt x="771601" y="326195"/>
                </a:lnTo>
                <a:lnTo>
                  <a:pt x="748141" y="349412"/>
                </a:lnTo>
                <a:lnTo>
                  <a:pt x="720311" y="354096"/>
                </a:lnTo>
                <a:lnTo>
                  <a:pt x="720311" y="354098"/>
                </a:lnTo>
                <a:lnTo>
                  <a:pt x="748141" y="349413"/>
                </a:lnTo>
                <a:lnTo>
                  <a:pt x="771601" y="326196"/>
                </a:lnTo>
                <a:lnTo>
                  <a:pt x="835424" y="316149"/>
                </a:lnTo>
                <a:lnTo>
                  <a:pt x="845001" y="292117"/>
                </a:lnTo>
                <a:close/>
                <a:moveTo>
                  <a:pt x="1312973" y="286687"/>
                </a:moveTo>
                <a:lnTo>
                  <a:pt x="1312973" y="300603"/>
                </a:lnTo>
                <a:lnTo>
                  <a:pt x="1312974" y="300603"/>
                </a:lnTo>
                <a:lnTo>
                  <a:pt x="1312974" y="286687"/>
                </a:lnTo>
                <a:close/>
                <a:moveTo>
                  <a:pt x="1274470" y="193822"/>
                </a:moveTo>
                <a:lnTo>
                  <a:pt x="1266761" y="202982"/>
                </a:lnTo>
                <a:lnTo>
                  <a:pt x="1271903" y="249485"/>
                </a:lnTo>
                <a:lnTo>
                  <a:pt x="1272426" y="249958"/>
                </a:lnTo>
                <a:lnTo>
                  <a:pt x="1271903" y="249485"/>
                </a:lnTo>
                <a:lnTo>
                  <a:pt x="1266761" y="202982"/>
                </a:lnTo>
                <a:close/>
                <a:moveTo>
                  <a:pt x="1296841" y="56619"/>
                </a:moveTo>
                <a:lnTo>
                  <a:pt x="1296841" y="56621"/>
                </a:lnTo>
                <a:lnTo>
                  <a:pt x="1305582" y="117039"/>
                </a:lnTo>
                <a:lnTo>
                  <a:pt x="1305582" y="117038"/>
                </a:lnTo>
                <a:close/>
                <a:moveTo>
                  <a:pt x="1356937" y="0"/>
                </a:moveTo>
                <a:lnTo>
                  <a:pt x="1391451" y="6246"/>
                </a:lnTo>
                <a:lnTo>
                  <a:pt x="1390680" y="38764"/>
                </a:lnTo>
                <a:lnTo>
                  <a:pt x="1431044" y="15547"/>
                </a:lnTo>
                <a:lnTo>
                  <a:pt x="1434707" y="27902"/>
                </a:lnTo>
                <a:lnTo>
                  <a:pt x="1411248" y="58927"/>
                </a:lnTo>
                <a:lnTo>
                  <a:pt x="1412726" y="87575"/>
                </a:lnTo>
                <a:lnTo>
                  <a:pt x="1429565" y="103053"/>
                </a:lnTo>
                <a:lnTo>
                  <a:pt x="1425195" y="158109"/>
                </a:lnTo>
                <a:lnTo>
                  <a:pt x="1394344" y="188319"/>
                </a:lnTo>
                <a:lnTo>
                  <a:pt x="1403920" y="222398"/>
                </a:lnTo>
                <a:lnTo>
                  <a:pt x="1429565" y="223959"/>
                </a:lnTo>
                <a:lnTo>
                  <a:pt x="1443513" y="252608"/>
                </a:lnTo>
                <a:lnTo>
                  <a:pt x="1461831" y="262655"/>
                </a:lnTo>
                <a:lnTo>
                  <a:pt x="1461831" y="262658"/>
                </a:lnTo>
                <a:lnTo>
                  <a:pt x="1520512" y="283566"/>
                </a:lnTo>
                <a:lnTo>
                  <a:pt x="1540308" y="277387"/>
                </a:lnTo>
                <a:lnTo>
                  <a:pt x="1582150" y="288251"/>
                </a:lnTo>
                <a:lnTo>
                  <a:pt x="1648158" y="315335"/>
                </a:lnTo>
                <a:lnTo>
                  <a:pt x="1673803" y="371138"/>
                </a:lnTo>
                <a:lnTo>
                  <a:pt x="1718602" y="382000"/>
                </a:lnTo>
                <a:lnTo>
                  <a:pt x="1788981" y="408340"/>
                </a:lnTo>
                <a:lnTo>
                  <a:pt x="1843292" y="438550"/>
                </a:lnTo>
                <a:lnTo>
                  <a:pt x="1865980" y="423071"/>
                </a:lnTo>
                <a:lnTo>
                  <a:pt x="1888026" y="393609"/>
                </a:lnTo>
                <a:lnTo>
                  <a:pt x="1874786" y="347106"/>
                </a:lnTo>
                <a:lnTo>
                  <a:pt x="1888026" y="317643"/>
                </a:lnTo>
                <a:lnTo>
                  <a:pt x="1922477" y="288251"/>
                </a:lnTo>
                <a:lnTo>
                  <a:pt x="1955513" y="280510"/>
                </a:lnTo>
                <a:lnTo>
                  <a:pt x="2022229" y="292865"/>
                </a:lnTo>
                <a:lnTo>
                  <a:pt x="2040547" y="320019"/>
                </a:lnTo>
                <a:lnTo>
                  <a:pt x="2058929" y="320019"/>
                </a:lnTo>
                <a:lnTo>
                  <a:pt x="2075061" y="330813"/>
                </a:lnTo>
                <a:lnTo>
                  <a:pt x="2124937" y="338620"/>
                </a:lnTo>
                <a:lnTo>
                  <a:pt x="2138885" y="359529"/>
                </a:lnTo>
                <a:lnTo>
                  <a:pt x="2121981" y="388178"/>
                </a:lnTo>
                <a:lnTo>
                  <a:pt x="2132264" y="414518"/>
                </a:lnTo>
                <a:lnTo>
                  <a:pt x="2121274" y="452466"/>
                </a:lnTo>
                <a:lnTo>
                  <a:pt x="2139592" y="501277"/>
                </a:lnTo>
                <a:lnTo>
                  <a:pt x="2151354" y="721298"/>
                </a:lnTo>
                <a:lnTo>
                  <a:pt x="2160866" y="948312"/>
                </a:lnTo>
                <a:lnTo>
                  <a:pt x="2165301" y="1070710"/>
                </a:lnTo>
                <a:lnTo>
                  <a:pt x="2165302" y="1070710"/>
                </a:lnTo>
                <a:lnTo>
                  <a:pt x="2160867" y="948313"/>
                </a:lnTo>
                <a:lnTo>
                  <a:pt x="2160866" y="948313"/>
                </a:lnTo>
                <a:lnTo>
                  <a:pt x="2151354" y="721299"/>
                </a:lnTo>
                <a:lnTo>
                  <a:pt x="2139592" y="501277"/>
                </a:lnTo>
                <a:lnTo>
                  <a:pt x="2121274" y="452466"/>
                </a:lnTo>
                <a:lnTo>
                  <a:pt x="2132265" y="414517"/>
                </a:lnTo>
                <a:lnTo>
                  <a:pt x="2121981" y="388177"/>
                </a:lnTo>
                <a:lnTo>
                  <a:pt x="2138885" y="359529"/>
                </a:lnTo>
                <a:lnTo>
                  <a:pt x="2203415" y="357153"/>
                </a:lnTo>
                <a:lnTo>
                  <a:pt x="2252584" y="373446"/>
                </a:lnTo>
                <a:lnTo>
                  <a:pt x="2302460" y="392047"/>
                </a:lnTo>
                <a:lnTo>
                  <a:pt x="2326627" y="402094"/>
                </a:lnTo>
                <a:lnTo>
                  <a:pt x="2361849" y="382746"/>
                </a:lnTo>
                <a:lnTo>
                  <a:pt x="2381645" y="364960"/>
                </a:lnTo>
                <a:lnTo>
                  <a:pt x="2424194" y="359529"/>
                </a:lnTo>
                <a:lnTo>
                  <a:pt x="2460123" y="367268"/>
                </a:lnTo>
                <a:lnTo>
                  <a:pt x="2475548" y="398225"/>
                </a:lnTo>
                <a:lnTo>
                  <a:pt x="2485832" y="377315"/>
                </a:lnTo>
                <a:lnTo>
                  <a:pt x="2526131" y="392047"/>
                </a:lnTo>
                <a:lnTo>
                  <a:pt x="2565016" y="395916"/>
                </a:lnTo>
                <a:lnTo>
                  <a:pt x="2587769" y="380438"/>
                </a:lnTo>
                <a:lnTo>
                  <a:pt x="2623698" y="469506"/>
                </a:lnTo>
                <a:lnTo>
                  <a:pt x="2630318" y="485799"/>
                </a:lnTo>
                <a:lnTo>
                  <a:pt x="2617849" y="509831"/>
                </a:lnTo>
                <a:lnTo>
                  <a:pt x="2612000" y="556265"/>
                </a:lnTo>
                <a:lnTo>
                  <a:pt x="2600945" y="588851"/>
                </a:lnTo>
                <a:lnTo>
                  <a:pt x="2589954" y="599645"/>
                </a:lnTo>
                <a:lnTo>
                  <a:pt x="2571637" y="580297"/>
                </a:lnTo>
                <a:lnTo>
                  <a:pt x="2546699" y="551649"/>
                </a:lnTo>
                <a:lnTo>
                  <a:pt x="2504150" y="464075"/>
                </a:lnTo>
                <a:lnTo>
                  <a:pt x="2499779" y="469506"/>
                </a:lnTo>
                <a:lnTo>
                  <a:pt x="2525424" y="534609"/>
                </a:lnTo>
                <a:lnTo>
                  <a:pt x="2561353" y="596590"/>
                </a:lnTo>
                <a:lnTo>
                  <a:pt x="2605380" y="691904"/>
                </a:lnTo>
                <a:lnTo>
                  <a:pt x="2626654" y="725983"/>
                </a:lnTo>
                <a:lnTo>
                  <a:pt x="2644972" y="760809"/>
                </a:lnTo>
                <a:lnTo>
                  <a:pt x="2693370" y="829035"/>
                </a:lnTo>
                <a:lnTo>
                  <a:pt x="2683858" y="839829"/>
                </a:lnTo>
                <a:lnTo>
                  <a:pt x="2687521" y="880154"/>
                </a:lnTo>
                <a:lnTo>
                  <a:pt x="2749866" y="935143"/>
                </a:lnTo>
                <a:lnTo>
                  <a:pt x="2759377" y="948310"/>
                </a:lnTo>
                <a:lnTo>
                  <a:pt x="2759380" y="948310"/>
                </a:lnTo>
                <a:lnTo>
                  <a:pt x="2778469" y="1007982"/>
                </a:lnTo>
                <a:lnTo>
                  <a:pt x="2768185" y="1019591"/>
                </a:lnTo>
                <a:lnTo>
                  <a:pt x="2778469" y="1082318"/>
                </a:lnTo>
                <a:lnTo>
                  <a:pt x="2801222" y="1155908"/>
                </a:lnTo>
                <a:lnTo>
                  <a:pt x="2821725" y="1171454"/>
                </a:lnTo>
                <a:lnTo>
                  <a:pt x="2849620" y="1194671"/>
                </a:lnTo>
                <a:lnTo>
                  <a:pt x="2826160" y="1229565"/>
                </a:lnTo>
                <a:lnTo>
                  <a:pt x="2789460" y="1239612"/>
                </a:lnTo>
                <a:lnTo>
                  <a:pt x="2774805" y="1258960"/>
                </a:lnTo>
                <a:lnTo>
                  <a:pt x="2771142" y="1299285"/>
                </a:lnTo>
                <a:lnTo>
                  <a:pt x="2753531" y="1390660"/>
                </a:lnTo>
                <a:lnTo>
                  <a:pt x="2760151" y="1414692"/>
                </a:lnTo>
                <a:lnTo>
                  <a:pt x="2760151" y="1414693"/>
                </a:lnTo>
                <a:lnTo>
                  <a:pt x="2760152" y="1414693"/>
                </a:lnTo>
                <a:lnTo>
                  <a:pt x="2753532" y="1390661"/>
                </a:lnTo>
                <a:lnTo>
                  <a:pt x="2771143" y="1299286"/>
                </a:lnTo>
                <a:lnTo>
                  <a:pt x="2774806" y="1258961"/>
                </a:lnTo>
                <a:lnTo>
                  <a:pt x="2789460" y="1239613"/>
                </a:lnTo>
                <a:lnTo>
                  <a:pt x="2826160" y="1229566"/>
                </a:lnTo>
                <a:lnTo>
                  <a:pt x="2849620" y="1194672"/>
                </a:lnTo>
                <a:lnTo>
                  <a:pt x="2884135" y="1265953"/>
                </a:lnTo>
                <a:lnTo>
                  <a:pt x="2900267" y="1322503"/>
                </a:lnTo>
                <a:lnTo>
                  <a:pt x="2929576" y="1352713"/>
                </a:lnTo>
                <a:lnTo>
                  <a:pt x="3002204" y="1410824"/>
                </a:lnTo>
                <a:lnTo>
                  <a:pt x="3031513" y="1445718"/>
                </a:lnTo>
                <a:lnTo>
                  <a:pt x="3060886" y="1481358"/>
                </a:lnTo>
                <a:lnTo>
                  <a:pt x="3078497" y="1503014"/>
                </a:lnTo>
                <a:lnTo>
                  <a:pt x="3104141" y="1521615"/>
                </a:lnTo>
                <a:lnTo>
                  <a:pt x="3096480" y="1528891"/>
                </a:lnTo>
                <a:lnTo>
                  <a:pt x="3104141" y="1521616"/>
                </a:lnTo>
                <a:lnTo>
                  <a:pt x="3116609" y="1539402"/>
                </a:lnTo>
                <a:lnTo>
                  <a:pt x="3115902" y="1565742"/>
                </a:lnTo>
                <a:lnTo>
                  <a:pt x="3087301" y="1580474"/>
                </a:lnTo>
                <a:lnTo>
                  <a:pt x="3110761" y="1596766"/>
                </a:lnTo>
                <a:lnTo>
                  <a:pt x="3091929" y="1629650"/>
                </a:lnTo>
                <a:lnTo>
                  <a:pt x="3092443" y="1630098"/>
                </a:lnTo>
                <a:lnTo>
                  <a:pt x="3082160" y="1651754"/>
                </a:lnTo>
                <a:lnTo>
                  <a:pt x="3101956" y="1685833"/>
                </a:lnTo>
                <a:lnTo>
                  <a:pt x="3121752" y="1716043"/>
                </a:lnTo>
                <a:lnTo>
                  <a:pt x="3141548" y="1737020"/>
                </a:lnTo>
                <a:lnTo>
                  <a:pt x="3141549" y="1737020"/>
                </a:lnTo>
                <a:lnTo>
                  <a:pt x="3121753" y="1716043"/>
                </a:lnTo>
                <a:lnTo>
                  <a:pt x="3101957" y="1685834"/>
                </a:lnTo>
                <a:lnTo>
                  <a:pt x="3082161" y="1651754"/>
                </a:lnTo>
                <a:lnTo>
                  <a:pt x="3092444" y="1630098"/>
                </a:lnTo>
                <a:lnTo>
                  <a:pt x="3110762" y="1596766"/>
                </a:lnTo>
                <a:lnTo>
                  <a:pt x="3126895" y="1608375"/>
                </a:lnTo>
                <a:lnTo>
                  <a:pt x="3137886" y="1633968"/>
                </a:lnTo>
                <a:lnTo>
                  <a:pt x="3162117" y="1659493"/>
                </a:lnTo>
                <a:lnTo>
                  <a:pt x="3187055" y="1659493"/>
                </a:lnTo>
                <a:lnTo>
                  <a:pt x="3234745" y="1644015"/>
                </a:lnTo>
                <a:lnTo>
                  <a:pt x="3291177" y="1636276"/>
                </a:lnTo>
                <a:lnTo>
                  <a:pt x="3335205" y="1618490"/>
                </a:lnTo>
                <a:lnTo>
                  <a:pt x="3360850" y="1613059"/>
                </a:lnTo>
                <a:lnTo>
                  <a:pt x="3377754" y="1602944"/>
                </a:lnTo>
                <a:lnTo>
                  <a:pt x="3407062" y="1600636"/>
                </a:lnTo>
                <a:lnTo>
                  <a:pt x="3423966" y="1599074"/>
                </a:lnTo>
                <a:lnTo>
                  <a:pt x="3446719" y="1589774"/>
                </a:lnTo>
                <a:lnTo>
                  <a:pt x="3473135" y="1584343"/>
                </a:lnTo>
                <a:lnTo>
                  <a:pt x="3497302" y="1562687"/>
                </a:lnTo>
                <a:lnTo>
                  <a:pt x="3516391" y="1562687"/>
                </a:lnTo>
                <a:lnTo>
                  <a:pt x="3518576" y="1579726"/>
                </a:lnTo>
                <a:lnTo>
                  <a:pt x="3514913" y="1615367"/>
                </a:lnTo>
                <a:lnTo>
                  <a:pt x="3516391" y="1647885"/>
                </a:lnTo>
                <a:lnTo>
                  <a:pt x="3506107" y="1670355"/>
                </a:lnTo>
                <a:lnTo>
                  <a:pt x="3494345" y="1736206"/>
                </a:lnTo>
                <a:lnTo>
                  <a:pt x="3471657" y="1805179"/>
                </a:lnTo>
                <a:lnTo>
                  <a:pt x="3442284" y="1884199"/>
                </a:lnTo>
                <a:lnTo>
                  <a:pt x="3399735" y="1974828"/>
                </a:lnTo>
                <a:lnTo>
                  <a:pt x="3357186" y="2042987"/>
                </a:lnTo>
                <a:lnTo>
                  <a:pt x="3298505" y="2127438"/>
                </a:lnTo>
                <a:lnTo>
                  <a:pt x="3247215" y="2177063"/>
                </a:lnTo>
                <a:lnTo>
                  <a:pt x="3170922" y="2239044"/>
                </a:lnTo>
                <a:lnTo>
                  <a:pt x="3122460" y="2285479"/>
                </a:lnTo>
                <a:lnTo>
                  <a:pt x="3066735" y="2359883"/>
                </a:lnTo>
                <a:lnTo>
                  <a:pt x="3054266" y="2393215"/>
                </a:lnTo>
                <a:lnTo>
                  <a:pt x="3042568" y="2407132"/>
                </a:lnTo>
                <a:lnTo>
                  <a:pt x="3042567" y="2407130"/>
                </a:lnTo>
                <a:lnTo>
                  <a:pt x="3005868" y="2431909"/>
                </a:lnTo>
                <a:lnTo>
                  <a:pt x="2993399" y="2457502"/>
                </a:lnTo>
                <a:lnTo>
                  <a:pt x="2973602" y="2461372"/>
                </a:lnTo>
                <a:lnTo>
                  <a:pt x="2965504" y="2505498"/>
                </a:lnTo>
                <a:lnTo>
                  <a:pt x="2949371" y="2530345"/>
                </a:lnTo>
                <a:lnTo>
                  <a:pt x="2938381" y="2571349"/>
                </a:lnTo>
                <a:lnTo>
                  <a:pt x="2917813" y="2591511"/>
                </a:lnTo>
                <a:lnTo>
                  <a:pt x="2844477" y="2530345"/>
                </a:lnTo>
                <a:lnTo>
                  <a:pt x="2840814" y="2494704"/>
                </a:lnTo>
                <a:lnTo>
                  <a:pt x="2655964" y="2368367"/>
                </a:lnTo>
                <a:lnTo>
                  <a:pt x="2659627" y="2323494"/>
                </a:lnTo>
                <a:lnTo>
                  <a:pt x="2646451" y="2300209"/>
                </a:lnTo>
                <a:lnTo>
                  <a:pt x="2646451" y="2297154"/>
                </a:lnTo>
                <a:lnTo>
                  <a:pt x="2661105" y="2271561"/>
                </a:lnTo>
                <a:lnTo>
                  <a:pt x="2686044" y="2231304"/>
                </a:lnTo>
                <a:lnTo>
                  <a:pt x="2705133" y="2185548"/>
                </a:lnTo>
                <a:lnTo>
                  <a:pt x="2681673" y="2115082"/>
                </a:lnTo>
                <a:lnTo>
                  <a:pt x="2675053" y="2084058"/>
                </a:lnTo>
                <a:lnTo>
                  <a:pt x="2650116" y="2041494"/>
                </a:lnTo>
                <a:lnTo>
                  <a:pt x="2650114" y="2041495"/>
                </a:lnTo>
                <a:lnTo>
                  <a:pt x="2675051" y="2084058"/>
                </a:lnTo>
                <a:lnTo>
                  <a:pt x="2681671" y="2115082"/>
                </a:lnTo>
                <a:lnTo>
                  <a:pt x="2705131" y="2185548"/>
                </a:lnTo>
                <a:lnTo>
                  <a:pt x="2686042" y="2231304"/>
                </a:lnTo>
                <a:lnTo>
                  <a:pt x="2661104" y="2271560"/>
                </a:lnTo>
                <a:lnTo>
                  <a:pt x="2646450" y="2297154"/>
                </a:lnTo>
                <a:lnTo>
                  <a:pt x="2646450" y="2300209"/>
                </a:lnTo>
                <a:lnTo>
                  <a:pt x="2643493" y="2294778"/>
                </a:lnTo>
                <a:lnTo>
                  <a:pt x="2617077" y="2283169"/>
                </a:lnTo>
                <a:lnTo>
                  <a:pt x="2595095" y="2297900"/>
                </a:lnTo>
                <a:lnTo>
                  <a:pt x="2562830" y="2306454"/>
                </a:lnTo>
                <a:lnTo>
                  <a:pt x="2539371" y="2342841"/>
                </a:lnTo>
                <a:lnTo>
                  <a:pt x="2542263" y="2366873"/>
                </a:lnTo>
                <a:lnTo>
                  <a:pt x="2485060" y="2366059"/>
                </a:lnTo>
                <a:lnTo>
                  <a:pt x="2466742" y="2373798"/>
                </a:lnTo>
                <a:lnTo>
                  <a:pt x="2436662" y="2391652"/>
                </a:lnTo>
                <a:lnTo>
                  <a:pt x="2423487" y="2386221"/>
                </a:lnTo>
                <a:lnTo>
                  <a:pt x="2408769" y="2403260"/>
                </a:lnTo>
                <a:lnTo>
                  <a:pt x="2408769" y="2403261"/>
                </a:lnTo>
                <a:lnTo>
                  <a:pt x="2423487" y="2386222"/>
                </a:lnTo>
                <a:lnTo>
                  <a:pt x="2436663" y="2391653"/>
                </a:lnTo>
                <a:lnTo>
                  <a:pt x="2466743" y="2373799"/>
                </a:lnTo>
                <a:lnTo>
                  <a:pt x="2466795" y="2373882"/>
                </a:lnTo>
                <a:lnTo>
                  <a:pt x="2466744" y="2373798"/>
                </a:lnTo>
                <a:lnTo>
                  <a:pt x="2485062" y="2366059"/>
                </a:lnTo>
                <a:lnTo>
                  <a:pt x="2541558" y="2366874"/>
                </a:lnTo>
                <a:lnTo>
                  <a:pt x="2540080" y="2403261"/>
                </a:lnTo>
                <a:lnTo>
                  <a:pt x="2529796" y="2447455"/>
                </a:lnTo>
                <a:lnTo>
                  <a:pt x="2544514" y="2470673"/>
                </a:lnTo>
                <a:lnTo>
                  <a:pt x="2567203" y="2456688"/>
                </a:lnTo>
                <a:lnTo>
                  <a:pt x="2596576" y="2452818"/>
                </a:lnTo>
                <a:lnTo>
                  <a:pt x="2603196" y="2460625"/>
                </a:lnTo>
                <a:lnTo>
                  <a:pt x="2632504" y="2445079"/>
                </a:lnTo>
                <a:lnTo>
                  <a:pt x="2612708" y="2424170"/>
                </a:lnTo>
                <a:lnTo>
                  <a:pt x="2629548" y="2395522"/>
                </a:lnTo>
                <a:lnTo>
                  <a:pt x="2655257" y="2368367"/>
                </a:lnTo>
                <a:lnTo>
                  <a:pt x="2840813" y="2494705"/>
                </a:lnTo>
                <a:lnTo>
                  <a:pt x="2844477" y="2530345"/>
                </a:lnTo>
                <a:lnTo>
                  <a:pt x="2917813" y="2591512"/>
                </a:lnTo>
                <a:lnTo>
                  <a:pt x="2892168" y="2668224"/>
                </a:lnTo>
                <a:lnTo>
                  <a:pt x="2895124" y="2703118"/>
                </a:lnTo>
                <a:lnTo>
                  <a:pt x="2927389" y="2724774"/>
                </a:lnTo>
                <a:lnTo>
                  <a:pt x="2928868" y="2740252"/>
                </a:lnTo>
                <a:lnTo>
                  <a:pt x="2913442" y="2778269"/>
                </a:lnTo>
                <a:lnTo>
                  <a:pt x="2915627" y="2796802"/>
                </a:lnTo>
                <a:lnTo>
                  <a:pt x="2911964" y="2827080"/>
                </a:lnTo>
                <a:lnTo>
                  <a:pt x="2928868" y="2864214"/>
                </a:lnTo>
                <a:lnTo>
                  <a:pt x="2948664" y="2925448"/>
                </a:lnTo>
                <a:lnTo>
                  <a:pt x="2966982" y="2939365"/>
                </a:lnTo>
                <a:lnTo>
                  <a:pt x="2925204" y="2975005"/>
                </a:lnTo>
                <a:lnTo>
                  <a:pt x="2867978" y="2999020"/>
                </a:lnTo>
                <a:lnTo>
                  <a:pt x="2868709" y="2999038"/>
                </a:lnTo>
                <a:lnTo>
                  <a:pt x="2925205" y="2975006"/>
                </a:lnTo>
                <a:lnTo>
                  <a:pt x="2967754" y="2939365"/>
                </a:lnTo>
                <a:lnTo>
                  <a:pt x="2975081" y="2967267"/>
                </a:lnTo>
                <a:lnTo>
                  <a:pt x="2970646" y="3028501"/>
                </a:lnTo>
                <a:lnTo>
                  <a:pt x="2974310" y="3082742"/>
                </a:lnTo>
                <a:lnTo>
                  <a:pt x="2972831" y="3177987"/>
                </a:lnTo>
                <a:lnTo>
                  <a:pt x="2980930" y="3208197"/>
                </a:lnTo>
                <a:lnTo>
                  <a:pt x="2963319" y="3253138"/>
                </a:lnTo>
                <a:lnTo>
                  <a:pt x="2941337" y="3295771"/>
                </a:lnTo>
                <a:lnTo>
                  <a:pt x="2907594" y="3332973"/>
                </a:lnTo>
                <a:lnTo>
                  <a:pt x="2859903" y="3357752"/>
                </a:lnTo>
                <a:lnTo>
                  <a:pt x="2801222" y="3387215"/>
                </a:lnTo>
                <a:lnTo>
                  <a:pt x="2739583" y="3453065"/>
                </a:lnTo>
                <a:lnTo>
                  <a:pt x="2719787" y="3463859"/>
                </a:lnTo>
                <a:lnTo>
                  <a:pt x="2682380" y="3508800"/>
                </a:lnTo>
                <a:lnTo>
                  <a:pt x="2661106" y="3521970"/>
                </a:lnTo>
                <a:lnTo>
                  <a:pt x="2654486" y="3566911"/>
                </a:lnTo>
                <a:lnTo>
                  <a:pt x="2676531" y="3613413"/>
                </a:lnTo>
                <a:lnTo>
                  <a:pt x="2683859" y="3649054"/>
                </a:lnTo>
                <a:lnTo>
                  <a:pt x="2683859" y="3667655"/>
                </a:lnTo>
                <a:lnTo>
                  <a:pt x="2693371" y="3664532"/>
                </a:lnTo>
                <a:lnTo>
                  <a:pt x="2688229" y="3724205"/>
                </a:lnTo>
                <a:lnTo>
                  <a:pt x="2678717" y="3753600"/>
                </a:lnTo>
                <a:lnTo>
                  <a:pt x="2689707" y="3764462"/>
                </a:lnTo>
                <a:lnTo>
                  <a:pt x="2680902" y="3789240"/>
                </a:lnTo>
                <a:lnTo>
                  <a:pt x="2658213" y="3811711"/>
                </a:lnTo>
                <a:lnTo>
                  <a:pt x="2616372" y="3832688"/>
                </a:lnTo>
                <a:lnTo>
                  <a:pt x="2554026" y="3865952"/>
                </a:lnTo>
                <a:lnTo>
                  <a:pt x="2529795" y="3889238"/>
                </a:lnTo>
                <a:lnTo>
                  <a:pt x="2532752" y="3914016"/>
                </a:lnTo>
                <a:lnTo>
                  <a:pt x="2545221" y="3919447"/>
                </a:lnTo>
                <a:lnTo>
                  <a:pt x="2539373" y="3951216"/>
                </a:lnTo>
                <a:lnTo>
                  <a:pt x="2539373" y="3951216"/>
                </a:lnTo>
                <a:lnTo>
                  <a:pt x="2523240" y="3996904"/>
                </a:lnTo>
                <a:lnTo>
                  <a:pt x="2513664" y="4047276"/>
                </a:lnTo>
                <a:lnTo>
                  <a:pt x="2499009" y="4075178"/>
                </a:lnTo>
                <a:lnTo>
                  <a:pt x="2463080" y="4106134"/>
                </a:lnTo>
                <a:lnTo>
                  <a:pt x="2452090" y="4114688"/>
                </a:lnTo>
                <a:lnTo>
                  <a:pt x="2429337" y="4146391"/>
                </a:lnTo>
                <a:lnTo>
                  <a:pt x="2412433" y="4177415"/>
                </a:lnTo>
                <a:lnTo>
                  <a:pt x="2381646" y="4222356"/>
                </a:lnTo>
                <a:lnTo>
                  <a:pt x="2320072" y="4285084"/>
                </a:lnTo>
                <a:lnTo>
                  <a:pt x="2282665" y="4322286"/>
                </a:lnTo>
                <a:lnTo>
                  <a:pt x="2243009" y="4350187"/>
                </a:lnTo>
                <a:lnTo>
                  <a:pt x="2189469" y="4374219"/>
                </a:lnTo>
                <a:lnTo>
                  <a:pt x="2165302" y="4377274"/>
                </a:lnTo>
                <a:lnTo>
                  <a:pt x="2157911" y="4394314"/>
                </a:lnTo>
                <a:lnTo>
                  <a:pt x="2128602" y="4385013"/>
                </a:lnTo>
                <a:lnTo>
                  <a:pt x="2103664" y="4396690"/>
                </a:lnTo>
                <a:lnTo>
                  <a:pt x="2051603" y="4385013"/>
                </a:lnTo>
                <a:lnTo>
                  <a:pt x="2020752" y="4392820"/>
                </a:lnTo>
                <a:lnTo>
                  <a:pt x="2000956" y="4389697"/>
                </a:lnTo>
                <a:lnTo>
                  <a:pt x="1949601" y="4413729"/>
                </a:lnTo>
                <a:lnTo>
                  <a:pt x="1907052" y="4423777"/>
                </a:lnTo>
                <a:lnTo>
                  <a:pt x="1875559" y="4446994"/>
                </a:lnTo>
                <a:lnTo>
                  <a:pt x="1853513" y="4448555"/>
                </a:lnTo>
                <a:lnTo>
                  <a:pt x="1833717" y="4426899"/>
                </a:lnTo>
                <a:lnTo>
                  <a:pt x="1817584" y="4425338"/>
                </a:lnTo>
                <a:lnTo>
                  <a:pt x="1798495" y="4397437"/>
                </a:lnTo>
                <a:lnTo>
                  <a:pt x="1795603" y="4405990"/>
                </a:lnTo>
                <a:lnTo>
                  <a:pt x="1790461" y="4389697"/>
                </a:lnTo>
                <a:lnTo>
                  <a:pt x="1791939" y="4353242"/>
                </a:lnTo>
                <a:lnTo>
                  <a:pt x="1778699" y="4312239"/>
                </a:lnTo>
                <a:lnTo>
                  <a:pt x="1794831" y="4300562"/>
                </a:lnTo>
                <a:lnTo>
                  <a:pt x="1796310" y="4254127"/>
                </a:lnTo>
                <a:lnTo>
                  <a:pt x="1767001" y="4196016"/>
                </a:lnTo>
                <a:lnTo>
                  <a:pt x="1744248" y="4144898"/>
                </a:lnTo>
                <a:lnTo>
                  <a:pt x="1744248" y="4144083"/>
                </a:lnTo>
                <a:lnTo>
                  <a:pt x="1711983" y="4064316"/>
                </a:lnTo>
                <a:lnTo>
                  <a:pt x="1736921" y="4033292"/>
                </a:lnTo>
                <a:lnTo>
                  <a:pt x="1756010" y="4051146"/>
                </a:lnTo>
                <a:lnTo>
                  <a:pt x="1756010" y="4051145"/>
                </a:lnTo>
                <a:lnTo>
                  <a:pt x="1736921" y="4033291"/>
                </a:lnTo>
                <a:lnTo>
                  <a:pt x="1711983" y="4064315"/>
                </a:lnTo>
                <a:lnTo>
                  <a:pt x="1676054" y="4017813"/>
                </a:lnTo>
                <a:lnTo>
                  <a:pt x="1659150" y="3972125"/>
                </a:lnTo>
                <a:lnTo>
                  <a:pt x="1649638" y="3912453"/>
                </a:lnTo>
                <a:lnTo>
                  <a:pt x="1638647" y="3867511"/>
                </a:lnTo>
                <a:lnTo>
                  <a:pt x="1623928" y="3773013"/>
                </a:lnTo>
                <a:lnTo>
                  <a:pt x="1623928" y="3699424"/>
                </a:lnTo>
                <a:lnTo>
                  <a:pt x="1618787" y="3665277"/>
                </a:lnTo>
                <a:lnTo>
                  <a:pt x="1599762" y="3640498"/>
                </a:lnTo>
                <a:lnTo>
                  <a:pt x="1574824" y="3590126"/>
                </a:lnTo>
                <a:lnTo>
                  <a:pt x="1549114" y="3515043"/>
                </a:lnTo>
                <a:lnTo>
                  <a:pt x="1538895" y="3476280"/>
                </a:lnTo>
                <a:lnTo>
                  <a:pt x="1498531" y="3416607"/>
                </a:lnTo>
                <a:lnTo>
                  <a:pt x="1497053" y="3369358"/>
                </a:lnTo>
                <a:lnTo>
                  <a:pt x="1521147" y="3357815"/>
                </a:lnTo>
                <a:lnTo>
                  <a:pt x="1496346" y="3369360"/>
                </a:lnTo>
                <a:lnTo>
                  <a:pt x="1491911" y="3330596"/>
                </a:lnTo>
                <a:lnTo>
                  <a:pt x="1500009" y="3277169"/>
                </a:lnTo>
                <a:lnTo>
                  <a:pt x="1518327" y="3219805"/>
                </a:lnTo>
                <a:lnTo>
                  <a:pt x="1521284" y="3193465"/>
                </a:lnTo>
                <a:lnTo>
                  <a:pt x="1538895" y="3138476"/>
                </a:lnTo>
                <a:lnTo>
                  <a:pt x="1550592" y="3113698"/>
                </a:lnTo>
                <a:lnTo>
                  <a:pt x="1580672" y="3072626"/>
                </a:lnTo>
                <a:lnTo>
                  <a:pt x="1597576" y="3045539"/>
                </a:lnTo>
                <a:lnTo>
                  <a:pt x="1604132" y="2999037"/>
                </a:lnTo>
                <a:lnTo>
                  <a:pt x="1601240" y="2964143"/>
                </a:lnTo>
                <a:lnTo>
                  <a:pt x="1586521" y="2942487"/>
                </a:lnTo>
                <a:lnTo>
                  <a:pt x="1572638" y="2905285"/>
                </a:lnTo>
                <a:lnTo>
                  <a:pt x="1560876" y="2868083"/>
                </a:lnTo>
                <a:lnTo>
                  <a:pt x="1563833" y="2855728"/>
                </a:lnTo>
                <a:lnTo>
                  <a:pt x="1579194" y="2830949"/>
                </a:lnTo>
                <a:lnTo>
                  <a:pt x="1564540" y="2771276"/>
                </a:lnTo>
                <a:lnTo>
                  <a:pt x="1554256" y="2730205"/>
                </a:lnTo>
                <a:lnTo>
                  <a:pt x="1528611" y="2691441"/>
                </a:lnTo>
                <a:lnTo>
                  <a:pt x="1533753" y="2679833"/>
                </a:lnTo>
                <a:lnTo>
                  <a:pt x="1554256" y="2670532"/>
                </a:lnTo>
                <a:lnTo>
                  <a:pt x="1570388" y="2672093"/>
                </a:lnTo>
                <a:lnTo>
                  <a:pt x="1587292" y="2665101"/>
                </a:lnTo>
                <a:lnTo>
                  <a:pt x="1739813" y="2665916"/>
                </a:lnTo>
                <a:lnTo>
                  <a:pt x="1739812" y="2665915"/>
                </a:lnTo>
                <a:lnTo>
                  <a:pt x="1587292" y="2665100"/>
                </a:lnTo>
                <a:lnTo>
                  <a:pt x="1570388" y="2672093"/>
                </a:lnTo>
                <a:lnTo>
                  <a:pt x="1554255" y="2670531"/>
                </a:lnTo>
                <a:lnTo>
                  <a:pt x="1533752" y="2679832"/>
                </a:lnTo>
                <a:lnTo>
                  <a:pt x="1526425" y="2660484"/>
                </a:lnTo>
                <a:lnTo>
                  <a:pt x="1526425" y="2660484"/>
                </a:lnTo>
                <a:lnTo>
                  <a:pt x="1513185" y="2613982"/>
                </a:lnTo>
                <a:lnTo>
                  <a:pt x="1533753" y="2587642"/>
                </a:lnTo>
                <a:lnTo>
                  <a:pt x="1549854" y="2576801"/>
                </a:lnTo>
                <a:lnTo>
                  <a:pt x="1532983" y="2587642"/>
                </a:lnTo>
                <a:lnTo>
                  <a:pt x="1513187" y="2613235"/>
                </a:lnTo>
                <a:lnTo>
                  <a:pt x="1470638" y="2548946"/>
                </a:lnTo>
                <a:lnTo>
                  <a:pt x="1471079" y="2548565"/>
                </a:lnTo>
                <a:lnTo>
                  <a:pt x="1417868" y="2486965"/>
                </a:lnTo>
                <a:lnTo>
                  <a:pt x="1384124" y="2435779"/>
                </a:lnTo>
                <a:lnTo>
                  <a:pt x="1352566" y="2371490"/>
                </a:lnTo>
                <a:lnTo>
                  <a:pt x="1354751" y="2351328"/>
                </a:lnTo>
                <a:lnTo>
                  <a:pt x="1366513" y="2331980"/>
                </a:lnTo>
                <a:lnTo>
                  <a:pt x="1378211" y="2287039"/>
                </a:lnTo>
                <a:lnTo>
                  <a:pt x="1388495" y="2240537"/>
                </a:lnTo>
                <a:lnTo>
                  <a:pt x="1388495" y="2240537"/>
                </a:lnTo>
                <a:lnTo>
                  <a:pt x="1378983" y="2232051"/>
                </a:lnTo>
                <a:lnTo>
                  <a:pt x="1396594" y="2162331"/>
                </a:lnTo>
                <a:lnTo>
                  <a:pt x="1396595" y="2162331"/>
                </a:lnTo>
                <a:lnTo>
                  <a:pt x="1403922" y="2114268"/>
                </a:lnTo>
                <a:lnTo>
                  <a:pt x="1384126" y="2073197"/>
                </a:lnTo>
                <a:lnTo>
                  <a:pt x="1359895" y="2062403"/>
                </a:lnTo>
                <a:lnTo>
                  <a:pt x="1350382" y="2035248"/>
                </a:lnTo>
                <a:lnTo>
                  <a:pt x="1337142" y="2026762"/>
                </a:lnTo>
                <a:lnTo>
                  <a:pt x="1337142" y="2009722"/>
                </a:lnTo>
                <a:lnTo>
                  <a:pt x="1350382" y="1965528"/>
                </a:lnTo>
                <a:lnTo>
                  <a:pt x="1374549" y="1906670"/>
                </a:lnTo>
                <a:lnTo>
                  <a:pt x="1389203" y="1905855"/>
                </a:lnTo>
                <a:lnTo>
                  <a:pt x="1420054" y="1870215"/>
                </a:lnTo>
                <a:lnTo>
                  <a:pt x="1439079" y="1868721"/>
                </a:lnTo>
                <a:lnTo>
                  <a:pt x="1468452" y="1894247"/>
                </a:lnTo>
                <a:lnTo>
                  <a:pt x="1504380" y="1872591"/>
                </a:lnTo>
                <a:lnTo>
                  <a:pt x="1508815" y="1847812"/>
                </a:lnTo>
                <a:lnTo>
                  <a:pt x="1519806" y="1822219"/>
                </a:lnTo>
                <a:lnTo>
                  <a:pt x="1527133" y="1791195"/>
                </a:lnTo>
                <a:lnTo>
                  <a:pt x="1554256" y="1766416"/>
                </a:lnTo>
                <a:lnTo>
                  <a:pt x="1564540" y="1723036"/>
                </a:lnTo>
                <a:lnTo>
                  <a:pt x="1575531" y="1709119"/>
                </a:lnTo>
                <a:lnTo>
                  <a:pt x="1582151" y="1677348"/>
                </a:lnTo>
                <a:lnTo>
                  <a:pt x="1596098" y="1638585"/>
                </a:lnTo>
                <a:lnTo>
                  <a:pt x="1637876" y="1589774"/>
                </a:lnTo>
                <a:lnTo>
                  <a:pt x="1640832" y="1569680"/>
                </a:lnTo>
                <a:lnTo>
                  <a:pt x="1645974" y="1558818"/>
                </a:lnTo>
                <a:lnTo>
                  <a:pt x="1645974" y="1558817"/>
                </a:lnTo>
                <a:lnTo>
                  <a:pt x="1640832" y="1569678"/>
                </a:lnTo>
                <a:lnTo>
                  <a:pt x="1637875" y="1589773"/>
                </a:lnTo>
                <a:lnTo>
                  <a:pt x="1596098" y="1638584"/>
                </a:lnTo>
                <a:lnTo>
                  <a:pt x="1582151" y="1677347"/>
                </a:lnTo>
                <a:lnTo>
                  <a:pt x="1575530" y="1709118"/>
                </a:lnTo>
                <a:lnTo>
                  <a:pt x="1564540" y="1722288"/>
                </a:lnTo>
                <a:lnTo>
                  <a:pt x="1554256" y="1766415"/>
                </a:lnTo>
                <a:lnTo>
                  <a:pt x="1527133" y="1791193"/>
                </a:lnTo>
                <a:lnTo>
                  <a:pt x="1519806" y="1822218"/>
                </a:lnTo>
                <a:lnTo>
                  <a:pt x="1508815" y="1847811"/>
                </a:lnTo>
                <a:lnTo>
                  <a:pt x="1504380" y="1872590"/>
                </a:lnTo>
                <a:lnTo>
                  <a:pt x="1468451" y="1894245"/>
                </a:lnTo>
                <a:lnTo>
                  <a:pt x="1439078" y="1868720"/>
                </a:lnTo>
                <a:lnTo>
                  <a:pt x="1420053" y="1870214"/>
                </a:lnTo>
                <a:lnTo>
                  <a:pt x="1389202" y="1905854"/>
                </a:lnTo>
                <a:lnTo>
                  <a:pt x="1374548" y="1906669"/>
                </a:lnTo>
                <a:lnTo>
                  <a:pt x="1350381" y="1965527"/>
                </a:lnTo>
                <a:lnTo>
                  <a:pt x="1337141" y="2009721"/>
                </a:lnTo>
                <a:lnTo>
                  <a:pt x="1284373" y="2031377"/>
                </a:lnTo>
                <a:lnTo>
                  <a:pt x="1264512" y="2029069"/>
                </a:lnTo>
                <a:lnTo>
                  <a:pt x="1244716" y="2042239"/>
                </a:lnTo>
                <a:lnTo>
                  <a:pt x="1203646" y="2040677"/>
                </a:lnTo>
                <a:lnTo>
                  <a:pt x="1175815" y="2002729"/>
                </a:lnTo>
                <a:lnTo>
                  <a:pt x="1158204" y="1957788"/>
                </a:lnTo>
                <a:lnTo>
                  <a:pt x="1122983" y="1917531"/>
                </a:lnTo>
                <a:lnTo>
                  <a:pt x="1083390" y="1917531"/>
                </a:lnTo>
                <a:lnTo>
                  <a:pt x="1038592" y="1917531"/>
                </a:lnTo>
                <a:lnTo>
                  <a:pt x="1038592" y="1917531"/>
                </a:lnTo>
                <a:lnTo>
                  <a:pt x="996108" y="1925270"/>
                </a:lnTo>
                <a:lnTo>
                  <a:pt x="983639" y="1882637"/>
                </a:lnTo>
                <a:lnTo>
                  <a:pt x="985053" y="1740889"/>
                </a:lnTo>
                <a:lnTo>
                  <a:pt x="985052" y="1740888"/>
                </a:lnTo>
                <a:lnTo>
                  <a:pt x="983638" y="1882635"/>
                </a:lnTo>
                <a:lnTo>
                  <a:pt x="996107" y="1925268"/>
                </a:lnTo>
                <a:lnTo>
                  <a:pt x="954265" y="1937623"/>
                </a:lnTo>
                <a:lnTo>
                  <a:pt x="943274" y="1916714"/>
                </a:lnTo>
                <a:lnTo>
                  <a:pt x="929327" y="1878019"/>
                </a:lnTo>
                <a:lnTo>
                  <a:pt x="929328" y="1878021"/>
                </a:lnTo>
                <a:lnTo>
                  <a:pt x="942504" y="1916717"/>
                </a:lnTo>
                <a:lnTo>
                  <a:pt x="953559" y="1937626"/>
                </a:lnTo>
                <a:lnTo>
                  <a:pt x="874310" y="1974828"/>
                </a:lnTo>
                <a:lnTo>
                  <a:pt x="845001" y="1994991"/>
                </a:lnTo>
                <a:lnTo>
                  <a:pt x="798788" y="2013592"/>
                </a:lnTo>
                <a:lnTo>
                  <a:pt x="753282" y="1995738"/>
                </a:lnTo>
                <a:lnTo>
                  <a:pt x="754761" y="1971706"/>
                </a:lnTo>
                <a:lnTo>
                  <a:pt x="732779" y="1918278"/>
                </a:lnTo>
                <a:lnTo>
                  <a:pt x="746662" y="1848558"/>
                </a:lnTo>
                <a:lnTo>
                  <a:pt x="767937" y="1797440"/>
                </a:lnTo>
                <a:lnTo>
                  <a:pt x="754761" y="1709119"/>
                </a:lnTo>
                <a:lnTo>
                  <a:pt x="747434" y="1662616"/>
                </a:lnTo>
                <a:lnTo>
                  <a:pt x="749619" y="1627722"/>
                </a:lnTo>
                <a:lnTo>
                  <a:pt x="749618" y="1627722"/>
                </a:lnTo>
                <a:lnTo>
                  <a:pt x="747433" y="1662616"/>
                </a:lnTo>
                <a:lnTo>
                  <a:pt x="754760" y="1709119"/>
                </a:lnTo>
                <a:lnTo>
                  <a:pt x="720310" y="1693573"/>
                </a:lnTo>
                <a:lnTo>
                  <a:pt x="720287" y="1693575"/>
                </a:lnTo>
                <a:lnTo>
                  <a:pt x="720309" y="1693573"/>
                </a:lnTo>
                <a:lnTo>
                  <a:pt x="754760" y="1709119"/>
                </a:lnTo>
                <a:lnTo>
                  <a:pt x="767936" y="1797440"/>
                </a:lnTo>
                <a:lnTo>
                  <a:pt x="746661" y="1848559"/>
                </a:lnTo>
                <a:lnTo>
                  <a:pt x="732778" y="1918279"/>
                </a:lnTo>
                <a:lnTo>
                  <a:pt x="754760" y="1971706"/>
                </a:lnTo>
                <a:lnTo>
                  <a:pt x="753281" y="1995738"/>
                </a:lnTo>
                <a:lnTo>
                  <a:pt x="729050" y="1996553"/>
                </a:lnTo>
                <a:lnTo>
                  <a:pt x="693893" y="1984129"/>
                </a:lnTo>
                <a:lnTo>
                  <a:pt x="660857" y="1984876"/>
                </a:lnTo>
                <a:lnTo>
                  <a:pt x="599990" y="1995738"/>
                </a:lnTo>
                <a:lnTo>
                  <a:pt x="564062" y="2012778"/>
                </a:lnTo>
                <a:lnTo>
                  <a:pt x="512708" y="2036063"/>
                </a:lnTo>
                <a:lnTo>
                  <a:pt x="503195" y="2034501"/>
                </a:lnTo>
                <a:lnTo>
                  <a:pt x="503195" y="2034500"/>
                </a:lnTo>
                <a:lnTo>
                  <a:pt x="489249" y="2035247"/>
                </a:lnTo>
                <a:lnTo>
                  <a:pt x="437123" y="2005852"/>
                </a:lnTo>
                <a:lnTo>
                  <a:pt x="390203" y="1959350"/>
                </a:lnTo>
                <a:lnTo>
                  <a:pt x="346176" y="1925271"/>
                </a:lnTo>
                <a:lnTo>
                  <a:pt x="311725" y="1885760"/>
                </a:lnTo>
                <a:lnTo>
                  <a:pt x="311867" y="1885539"/>
                </a:lnTo>
                <a:lnTo>
                  <a:pt x="298548" y="1880329"/>
                </a:lnTo>
                <a:lnTo>
                  <a:pt x="261077" y="1856297"/>
                </a:lnTo>
                <a:lnTo>
                  <a:pt x="233954" y="1822218"/>
                </a:lnTo>
                <a:lnTo>
                  <a:pt x="225920" y="1800494"/>
                </a:lnTo>
                <a:lnTo>
                  <a:pt x="219300" y="1754806"/>
                </a:lnTo>
                <a:lnTo>
                  <a:pt x="219302" y="1754805"/>
                </a:lnTo>
                <a:lnTo>
                  <a:pt x="197320" y="1718418"/>
                </a:lnTo>
                <a:lnTo>
                  <a:pt x="178231" y="1694386"/>
                </a:lnTo>
                <a:lnTo>
                  <a:pt x="164284" y="1685833"/>
                </a:lnTo>
                <a:lnTo>
                  <a:pt x="152522" y="1674224"/>
                </a:lnTo>
                <a:lnTo>
                  <a:pt x="145966" y="1647137"/>
                </a:lnTo>
                <a:lnTo>
                  <a:pt x="138639" y="1633967"/>
                </a:lnTo>
                <a:lnTo>
                  <a:pt x="123920" y="1623106"/>
                </a:lnTo>
                <a:lnTo>
                  <a:pt x="123921" y="1623105"/>
                </a:lnTo>
                <a:lnTo>
                  <a:pt x="97569" y="1597512"/>
                </a:lnTo>
                <a:lnTo>
                  <a:pt x="75523" y="1592896"/>
                </a:lnTo>
                <a:lnTo>
                  <a:pt x="64532" y="1575856"/>
                </a:lnTo>
                <a:lnTo>
                  <a:pt x="64532" y="1566556"/>
                </a:lnTo>
                <a:lnTo>
                  <a:pt x="49107" y="1553386"/>
                </a:lnTo>
                <a:lnTo>
                  <a:pt x="46214" y="1540963"/>
                </a:lnTo>
                <a:lnTo>
                  <a:pt x="73909" y="1530222"/>
                </a:lnTo>
                <a:lnTo>
                  <a:pt x="73336" y="1530171"/>
                </a:lnTo>
                <a:lnTo>
                  <a:pt x="46213" y="1540218"/>
                </a:lnTo>
                <a:lnTo>
                  <a:pt x="38886" y="1492969"/>
                </a:lnTo>
                <a:lnTo>
                  <a:pt x="85098" y="1494530"/>
                </a:lnTo>
                <a:lnTo>
                  <a:pt x="97567" y="1485230"/>
                </a:lnTo>
                <a:lnTo>
                  <a:pt x="107080" y="1485230"/>
                </a:lnTo>
                <a:lnTo>
                  <a:pt x="126169" y="1471245"/>
                </a:lnTo>
                <a:lnTo>
                  <a:pt x="148150" y="1484415"/>
                </a:lnTo>
                <a:lnTo>
                  <a:pt x="170132" y="1485230"/>
                </a:lnTo>
                <a:lnTo>
                  <a:pt x="192177" y="1471245"/>
                </a:lnTo>
                <a:lnTo>
                  <a:pt x="192176" y="1471243"/>
                </a:lnTo>
                <a:lnTo>
                  <a:pt x="170132" y="1485227"/>
                </a:lnTo>
                <a:lnTo>
                  <a:pt x="148151" y="1484412"/>
                </a:lnTo>
                <a:lnTo>
                  <a:pt x="126170" y="1471242"/>
                </a:lnTo>
                <a:lnTo>
                  <a:pt x="107081" y="1485227"/>
                </a:lnTo>
                <a:lnTo>
                  <a:pt x="97568" y="1485227"/>
                </a:lnTo>
                <a:lnTo>
                  <a:pt x="85099" y="1494527"/>
                </a:lnTo>
                <a:lnTo>
                  <a:pt x="38887" y="1492966"/>
                </a:lnTo>
                <a:lnTo>
                  <a:pt x="45443" y="1465814"/>
                </a:lnTo>
                <a:lnTo>
                  <a:pt x="45442" y="1465814"/>
                </a:lnTo>
                <a:lnTo>
                  <a:pt x="24938" y="1417818"/>
                </a:lnTo>
                <a:lnTo>
                  <a:pt x="0" y="1395347"/>
                </a:lnTo>
                <a:lnTo>
                  <a:pt x="23460" y="1383739"/>
                </a:lnTo>
                <a:lnTo>
                  <a:pt x="49105" y="1341106"/>
                </a:lnTo>
                <a:lnTo>
                  <a:pt x="60867" y="1309334"/>
                </a:lnTo>
                <a:lnTo>
                  <a:pt x="79185" y="1289987"/>
                </a:lnTo>
                <a:lnTo>
                  <a:pt x="104123" y="1294603"/>
                </a:lnTo>
                <a:lnTo>
                  <a:pt x="129832" y="1281433"/>
                </a:lnTo>
                <a:lnTo>
                  <a:pt x="157663" y="1281433"/>
                </a:lnTo>
                <a:lnTo>
                  <a:pt x="181894" y="1298473"/>
                </a:lnTo>
                <a:lnTo>
                  <a:pt x="215637" y="1314765"/>
                </a:lnTo>
                <a:lnTo>
                  <a:pt x="244946" y="1360453"/>
                </a:lnTo>
                <a:lnTo>
                  <a:pt x="277982" y="1403086"/>
                </a:lnTo>
                <a:lnTo>
                  <a:pt x="280167" y="1441035"/>
                </a:lnTo>
                <a:lnTo>
                  <a:pt x="289744" y="1476676"/>
                </a:lnTo>
                <a:lnTo>
                  <a:pt x="309541" y="1494530"/>
                </a:lnTo>
                <a:lnTo>
                  <a:pt x="313204" y="1517001"/>
                </a:lnTo>
                <a:lnTo>
                  <a:pt x="310248" y="1536349"/>
                </a:lnTo>
                <a:lnTo>
                  <a:pt x="302920" y="1540218"/>
                </a:lnTo>
                <a:lnTo>
                  <a:pt x="279871" y="1536348"/>
                </a:lnTo>
                <a:lnTo>
                  <a:pt x="302921" y="1540963"/>
                </a:lnTo>
                <a:lnTo>
                  <a:pt x="310248" y="1537093"/>
                </a:lnTo>
                <a:lnTo>
                  <a:pt x="313205" y="1558817"/>
                </a:lnTo>
                <a:lnTo>
                  <a:pt x="313205" y="1558817"/>
                </a:lnTo>
                <a:lnTo>
                  <a:pt x="310249" y="1536347"/>
                </a:lnTo>
                <a:lnTo>
                  <a:pt x="313205" y="1517000"/>
                </a:lnTo>
                <a:lnTo>
                  <a:pt x="309542" y="1494529"/>
                </a:lnTo>
                <a:lnTo>
                  <a:pt x="290452" y="1476675"/>
                </a:lnTo>
                <a:lnTo>
                  <a:pt x="280169" y="1441034"/>
                </a:lnTo>
                <a:lnTo>
                  <a:pt x="277983" y="1403086"/>
                </a:lnTo>
                <a:lnTo>
                  <a:pt x="295594" y="1391477"/>
                </a:lnTo>
                <a:lnTo>
                  <a:pt x="305107" y="1355836"/>
                </a:lnTo>
                <a:lnTo>
                  <a:pt x="321239" y="1353528"/>
                </a:lnTo>
                <a:lnTo>
                  <a:pt x="321363" y="1353591"/>
                </a:lnTo>
                <a:lnTo>
                  <a:pt x="321238" y="1353526"/>
                </a:lnTo>
                <a:lnTo>
                  <a:pt x="304399" y="1355835"/>
                </a:lnTo>
                <a:lnTo>
                  <a:pt x="295594" y="1391475"/>
                </a:lnTo>
                <a:lnTo>
                  <a:pt x="277982" y="1403084"/>
                </a:lnTo>
                <a:lnTo>
                  <a:pt x="244946" y="1360451"/>
                </a:lnTo>
                <a:lnTo>
                  <a:pt x="215637" y="1314763"/>
                </a:lnTo>
                <a:lnTo>
                  <a:pt x="181894" y="1298470"/>
                </a:lnTo>
                <a:lnTo>
                  <a:pt x="157663" y="1280684"/>
                </a:lnTo>
                <a:lnTo>
                  <a:pt x="129833" y="1280684"/>
                </a:lnTo>
                <a:lnTo>
                  <a:pt x="104123" y="1294601"/>
                </a:lnTo>
                <a:lnTo>
                  <a:pt x="79186" y="1289984"/>
                </a:lnTo>
                <a:lnTo>
                  <a:pt x="60868" y="1309332"/>
                </a:lnTo>
                <a:lnTo>
                  <a:pt x="57204" y="1276000"/>
                </a:lnTo>
                <a:lnTo>
                  <a:pt x="72630" y="1245043"/>
                </a:lnTo>
                <a:lnTo>
                  <a:pt x="79957" y="1187679"/>
                </a:lnTo>
                <a:lnTo>
                  <a:pt x="75522" y="1127260"/>
                </a:lnTo>
                <a:lnTo>
                  <a:pt x="69673" y="1096303"/>
                </a:lnTo>
                <a:lnTo>
                  <a:pt x="76293" y="1065279"/>
                </a:lnTo>
                <a:lnTo>
                  <a:pt x="63824" y="1035884"/>
                </a:lnTo>
                <a:lnTo>
                  <a:pt x="38116" y="1010291"/>
                </a:lnTo>
                <a:lnTo>
                  <a:pt x="38115" y="1010292"/>
                </a:lnTo>
                <a:lnTo>
                  <a:pt x="41072" y="983952"/>
                </a:lnTo>
                <a:lnTo>
                  <a:pt x="41779" y="983952"/>
                </a:lnTo>
                <a:lnTo>
                  <a:pt x="155478" y="979268"/>
                </a:lnTo>
                <a:lnTo>
                  <a:pt x="162098" y="956865"/>
                </a:lnTo>
                <a:lnTo>
                  <a:pt x="182602" y="928963"/>
                </a:lnTo>
                <a:lnTo>
                  <a:pt x="200984" y="843697"/>
                </a:lnTo>
                <a:lnTo>
                  <a:pt x="272841" y="777847"/>
                </a:lnTo>
                <a:lnTo>
                  <a:pt x="298551" y="698827"/>
                </a:lnTo>
                <a:lnTo>
                  <a:pt x="313912" y="694957"/>
                </a:lnTo>
                <a:lnTo>
                  <a:pt x="331523" y="646961"/>
                </a:lnTo>
                <a:lnTo>
                  <a:pt x="373365" y="639969"/>
                </a:lnTo>
                <a:lnTo>
                  <a:pt x="390911" y="648455"/>
                </a:lnTo>
                <a:lnTo>
                  <a:pt x="413664" y="648455"/>
                </a:lnTo>
                <a:lnTo>
                  <a:pt x="430568" y="633791"/>
                </a:lnTo>
                <a:lnTo>
                  <a:pt x="461355" y="632230"/>
                </a:lnTo>
                <a:lnTo>
                  <a:pt x="461328" y="631008"/>
                </a:lnTo>
                <a:lnTo>
                  <a:pt x="461354" y="632229"/>
                </a:lnTo>
                <a:lnTo>
                  <a:pt x="430567" y="633790"/>
                </a:lnTo>
                <a:lnTo>
                  <a:pt x="413664" y="648454"/>
                </a:lnTo>
                <a:lnTo>
                  <a:pt x="390911" y="648454"/>
                </a:lnTo>
                <a:lnTo>
                  <a:pt x="373364" y="639968"/>
                </a:lnTo>
                <a:lnTo>
                  <a:pt x="331522" y="646960"/>
                </a:lnTo>
                <a:lnTo>
                  <a:pt x="313911" y="694956"/>
                </a:lnTo>
                <a:lnTo>
                  <a:pt x="298550" y="698826"/>
                </a:lnTo>
                <a:lnTo>
                  <a:pt x="272841" y="777100"/>
                </a:lnTo>
                <a:lnTo>
                  <a:pt x="200983" y="842950"/>
                </a:lnTo>
                <a:lnTo>
                  <a:pt x="182601" y="928148"/>
                </a:lnTo>
                <a:lnTo>
                  <a:pt x="162098" y="956864"/>
                </a:lnTo>
                <a:lnTo>
                  <a:pt x="155478" y="978520"/>
                </a:lnTo>
                <a:lnTo>
                  <a:pt x="41778" y="983951"/>
                </a:lnTo>
                <a:lnTo>
                  <a:pt x="40300" y="983951"/>
                </a:lnTo>
                <a:lnTo>
                  <a:pt x="43257" y="954488"/>
                </a:lnTo>
                <a:lnTo>
                  <a:pt x="63824" y="938263"/>
                </a:lnTo>
                <a:lnTo>
                  <a:pt x="80664" y="906492"/>
                </a:lnTo>
                <a:lnTo>
                  <a:pt x="78479" y="884768"/>
                </a:lnTo>
                <a:lnTo>
                  <a:pt x="96796" y="841388"/>
                </a:lnTo>
                <a:lnTo>
                  <a:pt x="125398" y="802625"/>
                </a:lnTo>
                <a:lnTo>
                  <a:pt x="142302" y="792578"/>
                </a:lnTo>
                <a:lnTo>
                  <a:pt x="156956" y="756190"/>
                </a:lnTo>
                <a:lnTo>
                  <a:pt x="159141" y="724419"/>
                </a:lnTo>
                <a:lnTo>
                  <a:pt x="178231" y="685656"/>
                </a:lnTo>
                <a:lnTo>
                  <a:pt x="211974" y="663185"/>
                </a:lnTo>
                <a:lnTo>
                  <a:pt x="244946" y="600458"/>
                </a:lnTo>
                <a:lnTo>
                  <a:pt x="246424" y="598896"/>
                </a:lnTo>
                <a:lnTo>
                  <a:pt x="272134" y="575679"/>
                </a:lnTo>
                <a:lnTo>
                  <a:pt x="318346" y="569434"/>
                </a:lnTo>
                <a:lnTo>
                  <a:pt x="358646" y="526868"/>
                </a:lnTo>
                <a:lnTo>
                  <a:pt x="383584" y="509829"/>
                </a:lnTo>
                <a:lnTo>
                  <a:pt x="426904" y="458642"/>
                </a:lnTo>
                <a:lnTo>
                  <a:pt x="416620" y="381998"/>
                </a:lnTo>
                <a:lnTo>
                  <a:pt x="435709" y="330064"/>
                </a:lnTo>
                <a:lnTo>
                  <a:pt x="444515" y="296732"/>
                </a:lnTo>
                <a:lnTo>
                  <a:pt x="476008" y="255661"/>
                </a:lnTo>
                <a:lnTo>
                  <a:pt x="525885" y="227013"/>
                </a:lnTo>
                <a:lnTo>
                  <a:pt x="562585" y="202236"/>
                </a:lnTo>
                <a:lnTo>
                  <a:pt x="596328" y="137133"/>
                </a:lnTo>
                <a:lnTo>
                  <a:pt x="613167" y="99996"/>
                </a:lnTo>
                <a:lnTo>
                  <a:pt x="648389" y="99996"/>
                </a:lnTo>
                <a:lnTo>
                  <a:pt x="676991" y="125524"/>
                </a:lnTo>
                <a:lnTo>
                  <a:pt x="723203" y="121652"/>
                </a:lnTo>
                <a:lnTo>
                  <a:pt x="773079" y="135639"/>
                </a:lnTo>
                <a:lnTo>
                  <a:pt x="794354" y="136384"/>
                </a:lnTo>
                <a:lnTo>
                  <a:pt x="794354" y="136385"/>
                </a:lnTo>
                <a:lnTo>
                  <a:pt x="841337" y="102306"/>
                </a:lnTo>
                <a:lnTo>
                  <a:pt x="893398" y="90697"/>
                </a:lnTo>
                <a:lnTo>
                  <a:pt x="924185" y="65921"/>
                </a:lnTo>
                <a:lnTo>
                  <a:pt x="970397" y="46504"/>
                </a:lnTo>
                <a:lnTo>
                  <a:pt x="1051832" y="34894"/>
                </a:lnTo>
                <a:lnTo>
                  <a:pt x="1131787" y="30278"/>
                </a:lnTo>
                <a:lnTo>
                  <a:pt x="1156725" y="39513"/>
                </a:lnTo>
                <a:lnTo>
                  <a:pt x="1201459" y="13985"/>
                </a:lnTo>
                <a:lnTo>
                  <a:pt x="1252814" y="13985"/>
                </a:lnTo>
                <a:lnTo>
                  <a:pt x="1273317" y="28719"/>
                </a:lnTo>
                <a:lnTo>
                  <a:pt x="1305556" y="24943"/>
                </a:lnTo>
                <a:lnTo>
                  <a:pt x="1305582" y="24847"/>
                </a:lnTo>
                <a:close/>
              </a:path>
            </a:pathLst>
          </a:custGeom>
          <a:solidFill>
            <a:srgbClr val="FFFFFF">
              <a:alpha val="13410"/>
            </a:srgbClr>
          </a:solidFill>
          <a:ln>
            <a:noFill/>
          </a:ln>
        </p:spPr>
        <p:txBody>
          <a:bodyPr spcFirstLastPara="1" wrap="square" lIns="162525" tIns="162525" rIns="162525" bIns="1625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a:p>
        </p:txBody>
      </p:sp>
      <p:sp>
        <p:nvSpPr>
          <p:cNvPr id="92" name="Google Shape;92;p8"/>
          <p:cNvSpPr txBox="1">
            <a:spLocks noGrp="1"/>
          </p:cNvSpPr>
          <p:nvPr>
            <p:ph type="subTitle" idx="1"/>
          </p:nvPr>
        </p:nvSpPr>
        <p:spPr>
          <a:xfrm>
            <a:off x="448867" y="2024167"/>
            <a:ext cx="39897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2100"/>
              <a:buNone/>
              <a:defRPr sz="2100" b="1"/>
            </a:lvl1pPr>
            <a:lvl2pPr lvl="1" rtl="0">
              <a:spcBef>
                <a:spcPts val="2100"/>
              </a:spcBef>
              <a:spcAft>
                <a:spcPts val="0"/>
              </a:spcAft>
              <a:buSzPts val="2100"/>
              <a:buNone/>
              <a:defRPr sz="2100" b="1"/>
            </a:lvl2pPr>
            <a:lvl3pPr lvl="2" rtl="0">
              <a:spcBef>
                <a:spcPts val="2100"/>
              </a:spcBef>
              <a:spcAft>
                <a:spcPts val="0"/>
              </a:spcAft>
              <a:buSzPts val="2100"/>
              <a:buNone/>
              <a:defRPr sz="2100" b="1"/>
            </a:lvl3pPr>
            <a:lvl4pPr lvl="3" rtl="0">
              <a:spcBef>
                <a:spcPts val="2100"/>
              </a:spcBef>
              <a:spcAft>
                <a:spcPts val="0"/>
              </a:spcAft>
              <a:buSzPts val="2100"/>
              <a:buNone/>
              <a:defRPr sz="2100" b="1"/>
            </a:lvl4pPr>
            <a:lvl5pPr lvl="4" rtl="0">
              <a:spcBef>
                <a:spcPts val="2100"/>
              </a:spcBef>
              <a:spcAft>
                <a:spcPts val="0"/>
              </a:spcAft>
              <a:buSzPts val="2100"/>
              <a:buNone/>
              <a:defRPr sz="2100" b="1"/>
            </a:lvl5pPr>
            <a:lvl6pPr lvl="5" rtl="0">
              <a:spcBef>
                <a:spcPts val="2100"/>
              </a:spcBef>
              <a:spcAft>
                <a:spcPts val="0"/>
              </a:spcAft>
              <a:buSzPts val="2100"/>
              <a:buNone/>
              <a:defRPr sz="2100" b="1"/>
            </a:lvl6pPr>
            <a:lvl7pPr lvl="6" rtl="0">
              <a:spcBef>
                <a:spcPts val="2100"/>
              </a:spcBef>
              <a:spcAft>
                <a:spcPts val="0"/>
              </a:spcAft>
              <a:buSzPts val="2100"/>
              <a:buNone/>
              <a:defRPr sz="2100" b="1"/>
            </a:lvl7pPr>
            <a:lvl8pPr lvl="7" rtl="0">
              <a:spcBef>
                <a:spcPts val="2100"/>
              </a:spcBef>
              <a:spcAft>
                <a:spcPts val="0"/>
              </a:spcAft>
              <a:buSzPts val="2100"/>
              <a:buNone/>
              <a:defRPr sz="2100" b="1"/>
            </a:lvl8pPr>
            <a:lvl9pPr lvl="8" rtl="0">
              <a:spcBef>
                <a:spcPts val="2100"/>
              </a:spcBef>
              <a:spcAft>
                <a:spcPts val="2100"/>
              </a:spcAft>
              <a:buSzPts val="2100"/>
              <a:buNone/>
              <a:defRPr sz="2100" b="1"/>
            </a:lvl9pPr>
          </a:lstStyle>
          <a:p>
            <a:endParaRPr/>
          </a:p>
        </p:txBody>
      </p:sp>
      <p:sp>
        <p:nvSpPr>
          <p:cNvPr id="93" name="Google Shape;93;p8"/>
          <p:cNvSpPr txBox="1">
            <a:spLocks noGrp="1"/>
          </p:cNvSpPr>
          <p:nvPr>
            <p:ph type="subTitle" idx="2"/>
          </p:nvPr>
        </p:nvSpPr>
        <p:spPr>
          <a:xfrm>
            <a:off x="6096467" y="2024167"/>
            <a:ext cx="39897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2100"/>
              <a:buNone/>
              <a:defRPr sz="2100" b="1"/>
            </a:lvl1pPr>
            <a:lvl2pPr lvl="1" rtl="0">
              <a:spcBef>
                <a:spcPts val="2100"/>
              </a:spcBef>
              <a:spcAft>
                <a:spcPts val="0"/>
              </a:spcAft>
              <a:buSzPts val="2100"/>
              <a:buNone/>
              <a:defRPr sz="2100" b="1"/>
            </a:lvl2pPr>
            <a:lvl3pPr lvl="2" rtl="0">
              <a:spcBef>
                <a:spcPts val="2100"/>
              </a:spcBef>
              <a:spcAft>
                <a:spcPts val="0"/>
              </a:spcAft>
              <a:buSzPts val="2100"/>
              <a:buNone/>
              <a:defRPr sz="2100" b="1"/>
            </a:lvl3pPr>
            <a:lvl4pPr lvl="3" rtl="0">
              <a:spcBef>
                <a:spcPts val="2100"/>
              </a:spcBef>
              <a:spcAft>
                <a:spcPts val="0"/>
              </a:spcAft>
              <a:buSzPts val="2100"/>
              <a:buNone/>
              <a:defRPr sz="2100" b="1"/>
            </a:lvl4pPr>
            <a:lvl5pPr lvl="4" rtl="0">
              <a:spcBef>
                <a:spcPts val="2100"/>
              </a:spcBef>
              <a:spcAft>
                <a:spcPts val="0"/>
              </a:spcAft>
              <a:buSzPts val="2100"/>
              <a:buNone/>
              <a:defRPr sz="2100" b="1"/>
            </a:lvl5pPr>
            <a:lvl6pPr lvl="5" rtl="0">
              <a:spcBef>
                <a:spcPts val="2100"/>
              </a:spcBef>
              <a:spcAft>
                <a:spcPts val="0"/>
              </a:spcAft>
              <a:buSzPts val="2100"/>
              <a:buNone/>
              <a:defRPr sz="2100" b="1"/>
            </a:lvl6pPr>
            <a:lvl7pPr lvl="6" rtl="0">
              <a:spcBef>
                <a:spcPts val="2100"/>
              </a:spcBef>
              <a:spcAft>
                <a:spcPts val="0"/>
              </a:spcAft>
              <a:buSzPts val="2100"/>
              <a:buNone/>
              <a:defRPr sz="2100" b="1"/>
            </a:lvl7pPr>
            <a:lvl8pPr lvl="7" rtl="0">
              <a:spcBef>
                <a:spcPts val="2100"/>
              </a:spcBef>
              <a:spcAft>
                <a:spcPts val="0"/>
              </a:spcAft>
              <a:buSzPts val="2100"/>
              <a:buNone/>
              <a:defRPr sz="2100" b="1"/>
            </a:lvl8pPr>
            <a:lvl9pPr lvl="8" rtl="0">
              <a:spcBef>
                <a:spcPts val="2100"/>
              </a:spcBef>
              <a:spcAft>
                <a:spcPts val="2100"/>
              </a:spcAft>
              <a:buSzPts val="2100"/>
              <a:buNone/>
              <a:defRPr sz="2100" b="1"/>
            </a:lvl9pPr>
          </a:lstStyle>
          <a:p>
            <a:endParaRPr/>
          </a:p>
        </p:txBody>
      </p:sp>
      <p:sp>
        <p:nvSpPr>
          <p:cNvPr id="94" name="Google Shape;94;p8"/>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95" name="Google Shape;95;p8"/>
          <p:cNvSpPr txBox="1">
            <a:spLocks noGrp="1"/>
          </p:cNvSpPr>
          <p:nvPr>
            <p:ph type="body" idx="3"/>
          </p:nvPr>
        </p:nvSpPr>
        <p:spPr>
          <a:xfrm>
            <a:off x="1327200" y="2961200"/>
            <a:ext cx="4410300" cy="3118500"/>
          </a:xfrm>
          <a:prstGeom prst="rect">
            <a:avLst/>
          </a:prstGeom>
        </p:spPr>
        <p:txBody>
          <a:bodyPr spcFirstLastPara="1" wrap="square" lIns="121900" tIns="121900" rIns="121900" bIns="121900" anchor="t" anchorCtr="0">
            <a:noAutofit/>
          </a:bodyPr>
          <a:lstStyle>
            <a:lvl1pPr marL="457200" lvl="0" indent="-368300">
              <a:spcBef>
                <a:spcPts val="0"/>
              </a:spcBef>
              <a:spcAft>
                <a:spcPts val="0"/>
              </a:spcAft>
              <a:buSzPts val="2200"/>
              <a:buChar char="●"/>
              <a:defRPr/>
            </a:lvl1pPr>
            <a:lvl2pPr marL="914400" lvl="1" indent="-368300">
              <a:spcBef>
                <a:spcPts val="2100"/>
              </a:spcBef>
              <a:spcAft>
                <a:spcPts val="0"/>
              </a:spcAft>
              <a:buSzPts val="2200"/>
              <a:buChar char="○"/>
              <a:defRPr/>
            </a:lvl2pPr>
            <a:lvl3pPr marL="1371600" lvl="2" indent="-368300">
              <a:spcBef>
                <a:spcPts val="2100"/>
              </a:spcBef>
              <a:spcAft>
                <a:spcPts val="0"/>
              </a:spcAft>
              <a:buSzPts val="2200"/>
              <a:buChar char="■"/>
              <a:defRPr/>
            </a:lvl3pPr>
            <a:lvl4pPr marL="1828800" lvl="3" indent="-368300">
              <a:spcBef>
                <a:spcPts val="2100"/>
              </a:spcBef>
              <a:spcAft>
                <a:spcPts val="0"/>
              </a:spcAft>
              <a:buSzPts val="2200"/>
              <a:buChar char="●"/>
              <a:defRPr/>
            </a:lvl4pPr>
            <a:lvl5pPr marL="2286000" lvl="4" indent="-368300">
              <a:spcBef>
                <a:spcPts val="2100"/>
              </a:spcBef>
              <a:spcAft>
                <a:spcPts val="0"/>
              </a:spcAft>
              <a:buSzPts val="2200"/>
              <a:buChar char="○"/>
              <a:defRPr/>
            </a:lvl5pPr>
            <a:lvl6pPr marL="2743200" lvl="5" indent="-368300">
              <a:spcBef>
                <a:spcPts val="2100"/>
              </a:spcBef>
              <a:spcAft>
                <a:spcPts val="0"/>
              </a:spcAft>
              <a:buSzPts val="2200"/>
              <a:buChar char="■"/>
              <a:defRPr/>
            </a:lvl6pPr>
            <a:lvl7pPr marL="3200400" lvl="6" indent="-368300">
              <a:spcBef>
                <a:spcPts val="2100"/>
              </a:spcBef>
              <a:spcAft>
                <a:spcPts val="0"/>
              </a:spcAft>
              <a:buSzPts val="2200"/>
              <a:buChar char="●"/>
              <a:defRPr/>
            </a:lvl7pPr>
            <a:lvl8pPr marL="3657600" lvl="7" indent="-368300">
              <a:spcBef>
                <a:spcPts val="2100"/>
              </a:spcBef>
              <a:spcAft>
                <a:spcPts val="0"/>
              </a:spcAft>
              <a:buSzPts val="2200"/>
              <a:buChar char="○"/>
              <a:defRPr/>
            </a:lvl8pPr>
            <a:lvl9pPr marL="4114800" lvl="8" indent="-368300">
              <a:spcBef>
                <a:spcPts val="2100"/>
              </a:spcBef>
              <a:spcAft>
                <a:spcPts val="2100"/>
              </a:spcAft>
              <a:buSzPts val="2200"/>
              <a:buChar char="■"/>
              <a:defRPr/>
            </a:lvl9pPr>
          </a:lstStyle>
          <a:p>
            <a:endParaRPr/>
          </a:p>
        </p:txBody>
      </p:sp>
      <p:sp>
        <p:nvSpPr>
          <p:cNvPr id="96" name="Google Shape;96;p8"/>
          <p:cNvSpPr txBox="1">
            <a:spLocks noGrp="1"/>
          </p:cNvSpPr>
          <p:nvPr>
            <p:ph type="body" idx="4"/>
          </p:nvPr>
        </p:nvSpPr>
        <p:spPr>
          <a:xfrm>
            <a:off x="6770523" y="2949450"/>
            <a:ext cx="4410600" cy="3118500"/>
          </a:xfrm>
          <a:prstGeom prst="rect">
            <a:avLst/>
          </a:prstGeom>
        </p:spPr>
        <p:txBody>
          <a:bodyPr spcFirstLastPara="1" wrap="square" lIns="121900" tIns="121900" rIns="121900" bIns="121900" anchor="t" anchorCtr="0">
            <a:noAutofit/>
          </a:bodyPr>
          <a:lstStyle>
            <a:lvl1pPr marL="457200" lvl="0" indent="-368300">
              <a:spcBef>
                <a:spcPts val="0"/>
              </a:spcBef>
              <a:spcAft>
                <a:spcPts val="0"/>
              </a:spcAft>
              <a:buSzPts val="2200"/>
              <a:buChar char="●"/>
              <a:defRPr/>
            </a:lvl1pPr>
            <a:lvl2pPr marL="914400" lvl="1" indent="-368300">
              <a:spcBef>
                <a:spcPts val="2100"/>
              </a:spcBef>
              <a:spcAft>
                <a:spcPts val="0"/>
              </a:spcAft>
              <a:buSzPts val="2200"/>
              <a:buChar char="○"/>
              <a:defRPr/>
            </a:lvl2pPr>
            <a:lvl3pPr marL="1371600" lvl="2" indent="-368300">
              <a:spcBef>
                <a:spcPts val="2100"/>
              </a:spcBef>
              <a:spcAft>
                <a:spcPts val="0"/>
              </a:spcAft>
              <a:buSzPts val="2200"/>
              <a:buChar char="■"/>
              <a:defRPr/>
            </a:lvl3pPr>
            <a:lvl4pPr marL="1828800" lvl="3" indent="-368300">
              <a:spcBef>
                <a:spcPts val="2100"/>
              </a:spcBef>
              <a:spcAft>
                <a:spcPts val="0"/>
              </a:spcAft>
              <a:buSzPts val="2200"/>
              <a:buChar char="●"/>
              <a:defRPr/>
            </a:lvl4pPr>
            <a:lvl5pPr marL="2286000" lvl="4" indent="-368300">
              <a:spcBef>
                <a:spcPts val="2100"/>
              </a:spcBef>
              <a:spcAft>
                <a:spcPts val="0"/>
              </a:spcAft>
              <a:buSzPts val="2200"/>
              <a:buChar char="○"/>
              <a:defRPr/>
            </a:lvl5pPr>
            <a:lvl6pPr marL="2743200" lvl="5" indent="-368300">
              <a:spcBef>
                <a:spcPts val="2100"/>
              </a:spcBef>
              <a:spcAft>
                <a:spcPts val="0"/>
              </a:spcAft>
              <a:buSzPts val="2200"/>
              <a:buChar char="■"/>
              <a:defRPr/>
            </a:lvl6pPr>
            <a:lvl7pPr marL="3200400" lvl="6" indent="-368300">
              <a:spcBef>
                <a:spcPts val="2100"/>
              </a:spcBef>
              <a:spcAft>
                <a:spcPts val="0"/>
              </a:spcAft>
              <a:buSzPts val="2200"/>
              <a:buChar char="●"/>
              <a:defRPr/>
            </a:lvl7pPr>
            <a:lvl8pPr marL="3657600" lvl="7" indent="-368300">
              <a:spcBef>
                <a:spcPts val="2100"/>
              </a:spcBef>
              <a:spcAft>
                <a:spcPts val="0"/>
              </a:spcAft>
              <a:buSzPts val="2200"/>
              <a:buChar char="○"/>
              <a:defRPr/>
            </a:lvl8pPr>
            <a:lvl9pPr marL="4114800" lvl="8" indent="-368300">
              <a:spcBef>
                <a:spcPts val="2100"/>
              </a:spcBef>
              <a:spcAft>
                <a:spcPts val="2100"/>
              </a:spcAft>
              <a:buSzPts val="2200"/>
              <a:buChar char="■"/>
              <a:defRPr/>
            </a:lvl9pPr>
          </a:lstStyle>
          <a:p>
            <a:endParaRPr/>
          </a:p>
        </p:txBody>
      </p:sp>
    </p:spTree>
    <p:extLst>
      <p:ext uri="{BB962C8B-B14F-4D97-AF65-F5344CB8AC3E}">
        <p14:creationId xmlns:p14="http://schemas.microsoft.com/office/powerpoint/2010/main" val="11994767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005 One column">
  <p:cSld name="005 One column">
    <p:spTree>
      <p:nvGrpSpPr>
        <p:cNvPr id="1" name="Shape 97"/>
        <p:cNvGrpSpPr/>
        <p:nvPr/>
      </p:nvGrpSpPr>
      <p:grpSpPr>
        <a:xfrm>
          <a:off x="0" y="0"/>
          <a:ext cx="0" cy="0"/>
          <a:chOff x="0" y="0"/>
          <a:chExt cx="0" cy="0"/>
        </a:xfrm>
      </p:grpSpPr>
      <p:sp>
        <p:nvSpPr>
          <p:cNvPr id="98" name="Google Shape;98;p9"/>
          <p:cNvSpPr txBox="1">
            <a:spLocks noGrp="1"/>
          </p:cNvSpPr>
          <p:nvPr>
            <p:ph type="subTitle" idx="1"/>
          </p:nvPr>
        </p:nvSpPr>
        <p:spPr>
          <a:xfrm>
            <a:off x="448877" y="2024175"/>
            <a:ext cx="47688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2100"/>
              <a:buNone/>
              <a:defRPr sz="2100" b="1"/>
            </a:lvl1pPr>
            <a:lvl2pPr lvl="1" rtl="0">
              <a:spcBef>
                <a:spcPts val="2100"/>
              </a:spcBef>
              <a:spcAft>
                <a:spcPts val="0"/>
              </a:spcAft>
              <a:buSzPts val="2100"/>
              <a:buNone/>
              <a:defRPr sz="2100" b="1"/>
            </a:lvl2pPr>
            <a:lvl3pPr lvl="2" rtl="0">
              <a:spcBef>
                <a:spcPts val="2100"/>
              </a:spcBef>
              <a:spcAft>
                <a:spcPts val="0"/>
              </a:spcAft>
              <a:buSzPts val="2100"/>
              <a:buNone/>
              <a:defRPr sz="2100" b="1"/>
            </a:lvl3pPr>
            <a:lvl4pPr lvl="3" rtl="0">
              <a:spcBef>
                <a:spcPts val="2100"/>
              </a:spcBef>
              <a:spcAft>
                <a:spcPts val="0"/>
              </a:spcAft>
              <a:buSzPts val="2100"/>
              <a:buNone/>
              <a:defRPr sz="2100" b="1"/>
            </a:lvl4pPr>
            <a:lvl5pPr lvl="4" rtl="0">
              <a:spcBef>
                <a:spcPts val="2100"/>
              </a:spcBef>
              <a:spcAft>
                <a:spcPts val="0"/>
              </a:spcAft>
              <a:buSzPts val="2100"/>
              <a:buNone/>
              <a:defRPr sz="2100" b="1"/>
            </a:lvl5pPr>
            <a:lvl6pPr lvl="5" rtl="0">
              <a:spcBef>
                <a:spcPts val="2100"/>
              </a:spcBef>
              <a:spcAft>
                <a:spcPts val="0"/>
              </a:spcAft>
              <a:buSzPts val="2100"/>
              <a:buNone/>
              <a:defRPr sz="2100" b="1"/>
            </a:lvl6pPr>
            <a:lvl7pPr lvl="6" rtl="0">
              <a:spcBef>
                <a:spcPts val="2100"/>
              </a:spcBef>
              <a:spcAft>
                <a:spcPts val="0"/>
              </a:spcAft>
              <a:buSzPts val="2100"/>
              <a:buNone/>
              <a:defRPr sz="2100" b="1"/>
            </a:lvl7pPr>
            <a:lvl8pPr lvl="7" rtl="0">
              <a:spcBef>
                <a:spcPts val="2100"/>
              </a:spcBef>
              <a:spcAft>
                <a:spcPts val="0"/>
              </a:spcAft>
              <a:buSzPts val="2100"/>
              <a:buNone/>
              <a:defRPr sz="2100" b="1"/>
            </a:lvl8pPr>
            <a:lvl9pPr lvl="8" rtl="0">
              <a:spcBef>
                <a:spcPts val="2100"/>
              </a:spcBef>
              <a:spcAft>
                <a:spcPts val="2100"/>
              </a:spcAft>
              <a:buSzPts val="2100"/>
              <a:buNone/>
              <a:defRPr sz="2100" b="1"/>
            </a:lvl9pPr>
          </a:lstStyle>
          <a:p>
            <a:endParaRPr/>
          </a:p>
        </p:txBody>
      </p:sp>
      <p:sp>
        <p:nvSpPr>
          <p:cNvPr id="99" name="Google Shape;99;p9"/>
          <p:cNvSpPr txBox="1">
            <a:spLocks noGrp="1"/>
          </p:cNvSpPr>
          <p:nvPr>
            <p:ph type="title"/>
          </p:nvPr>
        </p:nvSpPr>
        <p:spPr>
          <a:xfrm>
            <a:off x="415600" y="593375"/>
            <a:ext cx="55815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100" name="Google Shape;100;p9"/>
          <p:cNvSpPr txBox="1">
            <a:spLocks noGrp="1"/>
          </p:cNvSpPr>
          <p:nvPr>
            <p:ph type="body" idx="2"/>
          </p:nvPr>
        </p:nvSpPr>
        <p:spPr>
          <a:xfrm>
            <a:off x="1228650" y="2684350"/>
            <a:ext cx="4907400" cy="3436500"/>
          </a:xfrm>
          <a:prstGeom prst="rect">
            <a:avLst/>
          </a:prstGeom>
        </p:spPr>
        <p:txBody>
          <a:bodyPr spcFirstLastPara="1" wrap="square" lIns="121900" tIns="121900" rIns="121900" bIns="121900" anchor="t" anchorCtr="0">
            <a:noAutofit/>
          </a:bodyPr>
          <a:lstStyle>
            <a:lvl1pPr marL="457200" lvl="0" indent="-368300">
              <a:spcBef>
                <a:spcPts val="0"/>
              </a:spcBef>
              <a:spcAft>
                <a:spcPts val="0"/>
              </a:spcAft>
              <a:buSzPts val="2200"/>
              <a:buChar char="●"/>
              <a:defRPr/>
            </a:lvl1pPr>
            <a:lvl2pPr marL="914400" lvl="1" indent="-368300">
              <a:spcBef>
                <a:spcPts val="2100"/>
              </a:spcBef>
              <a:spcAft>
                <a:spcPts val="0"/>
              </a:spcAft>
              <a:buSzPts val="2200"/>
              <a:buChar char="○"/>
              <a:defRPr/>
            </a:lvl2pPr>
            <a:lvl3pPr marL="1371600" lvl="2" indent="-368300">
              <a:spcBef>
                <a:spcPts val="2100"/>
              </a:spcBef>
              <a:spcAft>
                <a:spcPts val="0"/>
              </a:spcAft>
              <a:buSzPts val="2200"/>
              <a:buChar char="■"/>
              <a:defRPr/>
            </a:lvl3pPr>
            <a:lvl4pPr marL="1828800" lvl="3" indent="-368300">
              <a:spcBef>
                <a:spcPts val="2100"/>
              </a:spcBef>
              <a:spcAft>
                <a:spcPts val="0"/>
              </a:spcAft>
              <a:buSzPts val="2200"/>
              <a:buChar char="●"/>
              <a:defRPr/>
            </a:lvl4pPr>
            <a:lvl5pPr marL="2286000" lvl="4" indent="-368300">
              <a:spcBef>
                <a:spcPts val="2100"/>
              </a:spcBef>
              <a:spcAft>
                <a:spcPts val="0"/>
              </a:spcAft>
              <a:buSzPts val="2200"/>
              <a:buChar char="○"/>
              <a:defRPr/>
            </a:lvl5pPr>
            <a:lvl6pPr marL="2743200" lvl="5" indent="-368300">
              <a:spcBef>
                <a:spcPts val="2100"/>
              </a:spcBef>
              <a:spcAft>
                <a:spcPts val="0"/>
              </a:spcAft>
              <a:buSzPts val="2200"/>
              <a:buChar char="■"/>
              <a:defRPr/>
            </a:lvl6pPr>
            <a:lvl7pPr marL="3200400" lvl="6" indent="-368300">
              <a:spcBef>
                <a:spcPts val="2100"/>
              </a:spcBef>
              <a:spcAft>
                <a:spcPts val="0"/>
              </a:spcAft>
              <a:buSzPts val="2200"/>
              <a:buChar char="●"/>
              <a:defRPr/>
            </a:lvl7pPr>
            <a:lvl8pPr marL="3657600" lvl="7" indent="-368300">
              <a:spcBef>
                <a:spcPts val="2100"/>
              </a:spcBef>
              <a:spcAft>
                <a:spcPts val="0"/>
              </a:spcAft>
              <a:buSzPts val="2200"/>
              <a:buChar char="○"/>
              <a:defRPr/>
            </a:lvl8pPr>
            <a:lvl9pPr marL="4114800" lvl="8" indent="-368300">
              <a:spcBef>
                <a:spcPts val="2100"/>
              </a:spcBef>
              <a:spcAft>
                <a:spcPts val="2100"/>
              </a:spcAft>
              <a:buSzPts val="2200"/>
              <a:buChar char="■"/>
              <a:defRPr/>
            </a:lvl9pPr>
          </a:lstStyle>
          <a:p>
            <a:endParaRPr/>
          </a:p>
        </p:txBody>
      </p:sp>
      <p:grpSp>
        <p:nvGrpSpPr>
          <p:cNvPr id="101" name="Google Shape;101;p9"/>
          <p:cNvGrpSpPr/>
          <p:nvPr/>
        </p:nvGrpSpPr>
        <p:grpSpPr>
          <a:xfrm>
            <a:off x="57232" y="2179296"/>
            <a:ext cx="11906472" cy="4678765"/>
            <a:chOff x="1712140" y="3412070"/>
            <a:chExt cx="8769590" cy="3446096"/>
          </a:xfrm>
        </p:grpSpPr>
        <p:grpSp>
          <p:nvGrpSpPr>
            <p:cNvPr id="102" name="Google Shape;102;p9"/>
            <p:cNvGrpSpPr/>
            <p:nvPr/>
          </p:nvGrpSpPr>
          <p:grpSpPr>
            <a:xfrm>
              <a:off x="1712140" y="4978441"/>
              <a:ext cx="1335858" cy="1879449"/>
              <a:chOff x="7139197" y="345537"/>
              <a:chExt cx="4680652" cy="6585317"/>
            </a:xfrm>
          </p:grpSpPr>
          <p:sp>
            <p:nvSpPr>
              <p:cNvPr id="103" name="Google Shape;103;p9"/>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4" name="Google Shape;104;p9"/>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5" name="Google Shape;105;p9"/>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9"/>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9"/>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9"/>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09" name="Google Shape;109;p9"/>
            <p:cNvGrpSpPr/>
            <p:nvPr/>
          </p:nvGrpSpPr>
          <p:grpSpPr>
            <a:xfrm>
              <a:off x="3126221" y="4224860"/>
              <a:ext cx="1871325" cy="2632810"/>
              <a:chOff x="7139197" y="345537"/>
              <a:chExt cx="4680652" cy="6585317"/>
            </a:xfrm>
          </p:grpSpPr>
          <p:sp>
            <p:nvSpPr>
              <p:cNvPr id="110" name="Google Shape;110;p9"/>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1" name="Google Shape;111;p9"/>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2" name="Google Shape;112;p9"/>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3" name="Google Shape;113;p9"/>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9"/>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9"/>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16" name="Google Shape;116;p9"/>
            <p:cNvGrpSpPr/>
            <p:nvPr/>
          </p:nvGrpSpPr>
          <p:grpSpPr>
            <a:xfrm>
              <a:off x="4963149" y="3412070"/>
              <a:ext cx="2449385" cy="3446096"/>
              <a:chOff x="7139197" y="345537"/>
              <a:chExt cx="4680652" cy="6585317"/>
            </a:xfrm>
          </p:grpSpPr>
          <p:sp>
            <p:nvSpPr>
              <p:cNvPr id="117" name="Google Shape;117;p9"/>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8" name="Google Shape;118;p9"/>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 name="Google Shape;119;p9"/>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0" name="Google Shape;120;p9"/>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1" name="Google Shape;121;p9"/>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2" name="Google Shape;122;p9"/>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23" name="Google Shape;123;p9"/>
            <p:cNvGrpSpPr/>
            <p:nvPr/>
          </p:nvGrpSpPr>
          <p:grpSpPr>
            <a:xfrm>
              <a:off x="7308755" y="4224860"/>
              <a:ext cx="1871325" cy="2632810"/>
              <a:chOff x="7139197" y="345537"/>
              <a:chExt cx="4680652" cy="6585317"/>
            </a:xfrm>
          </p:grpSpPr>
          <p:sp>
            <p:nvSpPr>
              <p:cNvPr id="124" name="Google Shape;124;p9"/>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5" name="Google Shape;125;p9"/>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6" name="Google Shape;126;p9"/>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7" name="Google Shape;127;p9"/>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8" name="Google Shape;128;p9"/>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9" name="Google Shape;129;p9"/>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30" name="Google Shape;130;p9"/>
            <p:cNvGrpSpPr/>
            <p:nvPr/>
          </p:nvGrpSpPr>
          <p:grpSpPr>
            <a:xfrm>
              <a:off x="9145872" y="4978441"/>
              <a:ext cx="1335858" cy="1879449"/>
              <a:chOff x="7139197" y="345537"/>
              <a:chExt cx="4680652" cy="6585317"/>
            </a:xfrm>
          </p:grpSpPr>
          <p:sp>
            <p:nvSpPr>
              <p:cNvPr id="131" name="Google Shape;131;p9"/>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2" name="Google Shape;132;p9"/>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3" name="Google Shape;133;p9"/>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4" name="Google Shape;134;p9"/>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5" name="Google Shape;135;p9"/>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6" name="Google Shape;136;p9"/>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0078118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007 Quote">
  <p:cSld name="007 Quote">
    <p:spTree>
      <p:nvGrpSpPr>
        <p:cNvPr id="1" name="Shape 137"/>
        <p:cNvGrpSpPr/>
        <p:nvPr/>
      </p:nvGrpSpPr>
      <p:grpSpPr>
        <a:xfrm>
          <a:off x="0" y="0"/>
          <a:ext cx="0" cy="0"/>
          <a:chOff x="0" y="0"/>
          <a:chExt cx="0" cy="0"/>
        </a:xfrm>
      </p:grpSpPr>
      <p:grpSp>
        <p:nvGrpSpPr>
          <p:cNvPr id="138" name="Google Shape;138;p10"/>
          <p:cNvGrpSpPr/>
          <p:nvPr/>
        </p:nvGrpSpPr>
        <p:grpSpPr>
          <a:xfrm>
            <a:off x="26307" y="450421"/>
            <a:ext cx="12191415" cy="5419108"/>
            <a:chOff x="26250" y="972148"/>
            <a:chExt cx="6906926" cy="4917521"/>
          </a:xfrm>
        </p:grpSpPr>
        <p:sp>
          <p:nvSpPr>
            <p:cNvPr id="139" name="Google Shape;139;p10"/>
            <p:cNvSpPr/>
            <p:nvPr/>
          </p:nvSpPr>
          <p:spPr>
            <a:xfrm rot="4521536">
              <a:off x="2495543" y="-189464"/>
              <a:ext cx="1924099" cy="5600673"/>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rgbClr val="BD0D0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10"/>
            <p:cNvSpPr/>
            <p:nvPr/>
          </p:nvSpPr>
          <p:spPr>
            <a:xfrm rot="-398542">
              <a:off x="80299" y="2954274"/>
              <a:ext cx="6798828" cy="1329148"/>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rgbClr val="E9BD0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1" name="Google Shape;141;p10"/>
            <p:cNvSpPr/>
            <p:nvPr/>
          </p:nvSpPr>
          <p:spPr>
            <a:xfrm rot="4509655">
              <a:off x="2965939" y="1627038"/>
              <a:ext cx="1541782" cy="560068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rgbClr val="33703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42" name="Google Shape;142;p10"/>
          <p:cNvGrpSpPr/>
          <p:nvPr/>
        </p:nvGrpSpPr>
        <p:grpSpPr>
          <a:xfrm>
            <a:off x="7048536" y="4907285"/>
            <a:ext cx="4964465" cy="1950835"/>
            <a:chOff x="1712140" y="3412070"/>
            <a:chExt cx="8769590" cy="3446096"/>
          </a:xfrm>
        </p:grpSpPr>
        <p:grpSp>
          <p:nvGrpSpPr>
            <p:cNvPr id="143" name="Google Shape;143;p10"/>
            <p:cNvGrpSpPr/>
            <p:nvPr/>
          </p:nvGrpSpPr>
          <p:grpSpPr>
            <a:xfrm>
              <a:off x="1712140" y="4978441"/>
              <a:ext cx="1335858" cy="1879449"/>
              <a:chOff x="7139197" y="345537"/>
              <a:chExt cx="4680652" cy="6585317"/>
            </a:xfrm>
          </p:grpSpPr>
          <p:sp>
            <p:nvSpPr>
              <p:cNvPr id="144" name="Google Shape;144;p1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5" name="Google Shape;145;p1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6" name="Google Shape;146;p1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7" name="Google Shape;147;p1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8" name="Google Shape;148;p1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1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50" name="Google Shape;150;p10"/>
            <p:cNvGrpSpPr/>
            <p:nvPr/>
          </p:nvGrpSpPr>
          <p:grpSpPr>
            <a:xfrm>
              <a:off x="3126221" y="4224860"/>
              <a:ext cx="1871325" cy="2632810"/>
              <a:chOff x="7139197" y="345537"/>
              <a:chExt cx="4680652" cy="6585317"/>
            </a:xfrm>
          </p:grpSpPr>
          <p:sp>
            <p:nvSpPr>
              <p:cNvPr id="151" name="Google Shape;151;p1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2" name="Google Shape;152;p1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3" name="Google Shape;153;p1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4" name="Google Shape;154;p1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1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6" name="Google Shape;156;p1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57" name="Google Shape;157;p10"/>
            <p:cNvGrpSpPr/>
            <p:nvPr/>
          </p:nvGrpSpPr>
          <p:grpSpPr>
            <a:xfrm>
              <a:off x="4963149" y="3412070"/>
              <a:ext cx="2449385" cy="3446096"/>
              <a:chOff x="7139197" y="345537"/>
              <a:chExt cx="4680652" cy="6585317"/>
            </a:xfrm>
          </p:grpSpPr>
          <p:sp>
            <p:nvSpPr>
              <p:cNvPr id="158" name="Google Shape;158;p1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1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1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1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1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3" name="Google Shape;163;p1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64" name="Google Shape;164;p10"/>
            <p:cNvGrpSpPr/>
            <p:nvPr/>
          </p:nvGrpSpPr>
          <p:grpSpPr>
            <a:xfrm>
              <a:off x="7308755" y="4224860"/>
              <a:ext cx="1871325" cy="2632810"/>
              <a:chOff x="7139197" y="345537"/>
              <a:chExt cx="4680652" cy="6585317"/>
            </a:xfrm>
          </p:grpSpPr>
          <p:sp>
            <p:nvSpPr>
              <p:cNvPr id="165" name="Google Shape;165;p1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6" name="Google Shape;166;p1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7" name="Google Shape;167;p1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1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1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1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71" name="Google Shape;171;p10"/>
            <p:cNvGrpSpPr/>
            <p:nvPr/>
          </p:nvGrpSpPr>
          <p:grpSpPr>
            <a:xfrm>
              <a:off x="9145872" y="4978441"/>
              <a:ext cx="1335858" cy="1879449"/>
              <a:chOff x="7139197" y="345537"/>
              <a:chExt cx="4680652" cy="6585317"/>
            </a:xfrm>
          </p:grpSpPr>
          <p:sp>
            <p:nvSpPr>
              <p:cNvPr id="172" name="Google Shape;172;p1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3" name="Google Shape;173;p1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4" name="Google Shape;174;p1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5" name="Google Shape;175;p1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6" name="Google Shape;176;p1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7" name="Google Shape;177;p1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78" name="Google Shape;178;p10"/>
          <p:cNvSpPr txBox="1">
            <a:spLocks noGrp="1"/>
          </p:cNvSpPr>
          <p:nvPr>
            <p:ph type="title"/>
          </p:nvPr>
        </p:nvSpPr>
        <p:spPr>
          <a:xfrm>
            <a:off x="558100" y="1873525"/>
            <a:ext cx="11095500" cy="3160800"/>
          </a:xfrm>
          <a:prstGeom prst="rect">
            <a:avLst/>
          </a:prstGeom>
        </p:spPr>
        <p:txBody>
          <a:bodyPr spcFirstLastPara="1" wrap="square" lIns="121900" tIns="121900" rIns="121900" bIns="121900" anchor="ctr" anchorCtr="0">
            <a:noAutofit/>
          </a:bodyPr>
          <a:lstStyle>
            <a:lvl1pPr lvl="0" algn="ctr"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endParaRPr/>
          </a:p>
        </p:txBody>
      </p:sp>
      <p:sp>
        <p:nvSpPr>
          <p:cNvPr id="179" name="Google Shape;179;p10"/>
          <p:cNvSpPr txBox="1"/>
          <p:nvPr/>
        </p:nvSpPr>
        <p:spPr>
          <a:xfrm>
            <a:off x="70600" y="-755825"/>
            <a:ext cx="1927500" cy="2200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0000">
                <a:solidFill>
                  <a:schemeClr val="dk1"/>
                </a:solidFill>
                <a:latin typeface="Griffy"/>
                <a:ea typeface="Griffy"/>
                <a:cs typeface="Griffy"/>
                <a:sym typeface="Griffy"/>
              </a:rPr>
              <a:t>“</a:t>
            </a:r>
            <a:endParaRPr sz="40000"/>
          </a:p>
        </p:txBody>
      </p:sp>
      <p:sp>
        <p:nvSpPr>
          <p:cNvPr id="180" name="Google Shape;180;p10"/>
          <p:cNvSpPr txBox="1">
            <a:spLocks noGrp="1"/>
          </p:cNvSpPr>
          <p:nvPr>
            <p:ph type="subTitle" idx="1"/>
          </p:nvPr>
        </p:nvSpPr>
        <p:spPr>
          <a:xfrm>
            <a:off x="632875" y="5919475"/>
            <a:ext cx="11379900" cy="717900"/>
          </a:xfrm>
          <a:prstGeom prst="rect">
            <a:avLst/>
          </a:prstGeom>
        </p:spPr>
        <p:txBody>
          <a:bodyPr spcFirstLastPara="1" wrap="square" lIns="121900" tIns="121900" rIns="121900" bIns="121900" anchor="b" anchorCtr="0">
            <a:noAutofit/>
          </a:bodyPr>
          <a:lstStyle>
            <a:lvl1pPr lvl="0" algn="r" rtl="0">
              <a:lnSpc>
                <a:spcPct val="100000"/>
              </a:lnSpc>
              <a:spcBef>
                <a:spcPts val="0"/>
              </a:spcBef>
              <a:spcAft>
                <a:spcPts val="0"/>
              </a:spcAft>
              <a:buSzPts val="2200"/>
              <a:buNone/>
              <a:defRPr/>
            </a:lvl1pPr>
            <a:lvl2pPr lvl="1" algn="r" rtl="0">
              <a:lnSpc>
                <a:spcPct val="100000"/>
              </a:lnSpc>
              <a:spcBef>
                <a:spcPts val="0"/>
              </a:spcBef>
              <a:spcAft>
                <a:spcPts val="0"/>
              </a:spcAft>
              <a:buSzPts val="2200"/>
              <a:buNone/>
              <a:defRPr/>
            </a:lvl2pPr>
            <a:lvl3pPr lvl="2" algn="r" rtl="0">
              <a:lnSpc>
                <a:spcPct val="100000"/>
              </a:lnSpc>
              <a:spcBef>
                <a:spcPts val="0"/>
              </a:spcBef>
              <a:spcAft>
                <a:spcPts val="0"/>
              </a:spcAft>
              <a:buSzPts val="2200"/>
              <a:buNone/>
              <a:defRPr/>
            </a:lvl3pPr>
            <a:lvl4pPr lvl="3" algn="r" rtl="0">
              <a:lnSpc>
                <a:spcPct val="100000"/>
              </a:lnSpc>
              <a:spcBef>
                <a:spcPts val="0"/>
              </a:spcBef>
              <a:spcAft>
                <a:spcPts val="0"/>
              </a:spcAft>
              <a:buSzPts val="2200"/>
              <a:buNone/>
              <a:defRPr/>
            </a:lvl4pPr>
            <a:lvl5pPr lvl="4" algn="r" rtl="0">
              <a:lnSpc>
                <a:spcPct val="100000"/>
              </a:lnSpc>
              <a:spcBef>
                <a:spcPts val="0"/>
              </a:spcBef>
              <a:spcAft>
                <a:spcPts val="0"/>
              </a:spcAft>
              <a:buSzPts val="2200"/>
              <a:buNone/>
              <a:defRPr/>
            </a:lvl5pPr>
            <a:lvl6pPr lvl="5" algn="r" rtl="0">
              <a:lnSpc>
                <a:spcPct val="100000"/>
              </a:lnSpc>
              <a:spcBef>
                <a:spcPts val="0"/>
              </a:spcBef>
              <a:spcAft>
                <a:spcPts val="0"/>
              </a:spcAft>
              <a:buSzPts val="2200"/>
              <a:buNone/>
              <a:defRPr/>
            </a:lvl6pPr>
            <a:lvl7pPr lvl="6" algn="r" rtl="0">
              <a:lnSpc>
                <a:spcPct val="100000"/>
              </a:lnSpc>
              <a:spcBef>
                <a:spcPts val="0"/>
              </a:spcBef>
              <a:spcAft>
                <a:spcPts val="0"/>
              </a:spcAft>
              <a:buSzPts val="2200"/>
              <a:buNone/>
              <a:defRPr/>
            </a:lvl7pPr>
            <a:lvl8pPr lvl="7" algn="r" rtl="0">
              <a:lnSpc>
                <a:spcPct val="100000"/>
              </a:lnSpc>
              <a:spcBef>
                <a:spcPts val="0"/>
              </a:spcBef>
              <a:spcAft>
                <a:spcPts val="0"/>
              </a:spcAft>
              <a:buSzPts val="2200"/>
              <a:buNone/>
              <a:defRPr/>
            </a:lvl8pPr>
            <a:lvl9pPr lvl="8" algn="r" rtl="0">
              <a:lnSpc>
                <a:spcPct val="100000"/>
              </a:lnSpc>
              <a:spcBef>
                <a:spcPts val="0"/>
              </a:spcBef>
              <a:spcAft>
                <a:spcPts val="0"/>
              </a:spcAft>
              <a:buSzPts val="2200"/>
              <a:buNone/>
              <a:defRPr/>
            </a:lvl9pPr>
          </a:lstStyle>
          <a:p>
            <a:endParaRPr/>
          </a:p>
        </p:txBody>
      </p:sp>
    </p:spTree>
    <p:extLst>
      <p:ext uri="{BB962C8B-B14F-4D97-AF65-F5344CB8AC3E}">
        <p14:creationId xmlns:p14="http://schemas.microsoft.com/office/powerpoint/2010/main" val="20167684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009 Big Title">
  <p:cSld name="009 Big Title">
    <p:spTree>
      <p:nvGrpSpPr>
        <p:cNvPr id="1" name="Shape 181"/>
        <p:cNvGrpSpPr/>
        <p:nvPr/>
      </p:nvGrpSpPr>
      <p:grpSpPr>
        <a:xfrm>
          <a:off x="0" y="0"/>
          <a:ext cx="0" cy="0"/>
          <a:chOff x="0" y="0"/>
          <a:chExt cx="0" cy="0"/>
        </a:xfrm>
      </p:grpSpPr>
      <p:grpSp>
        <p:nvGrpSpPr>
          <p:cNvPr id="182" name="Google Shape;182;p11"/>
          <p:cNvGrpSpPr/>
          <p:nvPr/>
        </p:nvGrpSpPr>
        <p:grpSpPr>
          <a:xfrm>
            <a:off x="57232" y="2179296"/>
            <a:ext cx="11906472" cy="4678765"/>
            <a:chOff x="1712140" y="3412070"/>
            <a:chExt cx="8769590" cy="3446096"/>
          </a:xfrm>
        </p:grpSpPr>
        <p:grpSp>
          <p:nvGrpSpPr>
            <p:cNvPr id="183" name="Google Shape;183;p11"/>
            <p:cNvGrpSpPr/>
            <p:nvPr/>
          </p:nvGrpSpPr>
          <p:grpSpPr>
            <a:xfrm>
              <a:off x="1712140" y="4978441"/>
              <a:ext cx="1335858" cy="1879449"/>
              <a:chOff x="7139197" y="345537"/>
              <a:chExt cx="4680652" cy="6585317"/>
            </a:xfrm>
          </p:grpSpPr>
          <p:sp>
            <p:nvSpPr>
              <p:cNvPr id="184" name="Google Shape;184;p11"/>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5" name="Google Shape;185;p11"/>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6" name="Google Shape;186;p11"/>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7" name="Google Shape;187;p11"/>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8" name="Google Shape;188;p11"/>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 name="Google Shape;189;p11"/>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90" name="Google Shape;190;p11"/>
            <p:cNvGrpSpPr/>
            <p:nvPr/>
          </p:nvGrpSpPr>
          <p:grpSpPr>
            <a:xfrm>
              <a:off x="3126221" y="4224860"/>
              <a:ext cx="1871325" cy="2632810"/>
              <a:chOff x="7139197" y="345537"/>
              <a:chExt cx="4680652" cy="6585317"/>
            </a:xfrm>
          </p:grpSpPr>
          <p:sp>
            <p:nvSpPr>
              <p:cNvPr id="191" name="Google Shape;191;p11"/>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 name="Google Shape;192;p11"/>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 name="Google Shape;193;p11"/>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 name="Google Shape;194;p11"/>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 name="Google Shape;195;p11"/>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 name="Google Shape;196;p11"/>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197" name="Google Shape;197;p11"/>
            <p:cNvGrpSpPr/>
            <p:nvPr/>
          </p:nvGrpSpPr>
          <p:grpSpPr>
            <a:xfrm>
              <a:off x="4963149" y="3412070"/>
              <a:ext cx="2449385" cy="3446096"/>
              <a:chOff x="7139197" y="345537"/>
              <a:chExt cx="4680652" cy="6585317"/>
            </a:xfrm>
          </p:grpSpPr>
          <p:sp>
            <p:nvSpPr>
              <p:cNvPr id="198" name="Google Shape;198;p11"/>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 name="Google Shape;199;p11"/>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 name="Google Shape;200;p11"/>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 name="Google Shape;201;p11"/>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 name="Google Shape;202;p11"/>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 name="Google Shape;203;p11"/>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04" name="Google Shape;204;p11"/>
            <p:cNvGrpSpPr/>
            <p:nvPr/>
          </p:nvGrpSpPr>
          <p:grpSpPr>
            <a:xfrm>
              <a:off x="7308755" y="4224860"/>
              <a:ext cx="1871325" cy="2632810"/>
              <a:chOff x="7139197" y="345537"/>
              <a:chExt cx="4680652" cy="6585317"/>
            </a:xfrm>
          </p:grpSpPr>
          <p:sp>
            <p:nvSpPr>
              <p:cNvPr id="205" name="Google Shape;205;p11"/>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6" name="Google Shape;206;p11"/>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 name="Google Shape;207;p11"/>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 name="Google Shape;208;p11"/>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9" name="Google Shape;209;p11"/>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0" name="Google Shape;210;p11"/>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11" name="Google Shape;211;p11"/>
            <p:cNvGrpSpPr/>
            <p:nvPr/>
          </p:nvGrpSpPr>
          <p:grpSpPr>
            <a:xfrm>
              <a:off x="9145872" y="4978441"/>
              <a:ext cx="1335858" cy="1879449"/>
              <a:chOff x="7139197" y="345537"/>
              <a:chExt cx="4680652" cy="6585317"/>
            </a:xfrm>
          </p:grpSpPr>
          <p:sp>
            <p:nvSpPr>
              <p:cNvPr id="212" name="Google Shape;212;p11"/>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3" name="Google Shape;213;p11"/>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4" name="Google Shape;214;p11"/>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5" name="Google Shape;215;p11"/>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6" name="Google Shape;216;p11"/>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7" name="Google Shape;217;p11"/>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18" name="Google Shape;218;p11"/>
          <p:cNvSpPr txBox="1">
            <a:spLocks noGrp="1"/>
          </p:cNvSpPr>
          <p:nvPr>
            <p:ph type="title"/>
          </p:nvPr>
        </p:nvSpPr>
        <p:spPr>
          <a:xfrm>
            <a:off x="548200" y="544275"/>
            <a:ext cx="11095500" cy="3160800"/>
          </a:xfrm>
          <a:prstGeom prst="rect">
            <a:avLst/>
          </a:prstGeom>
        </p:spPr>
        <p:txBody>
          <a:bodyPr spcFirstLastPara="1" wrap="square" lIns="121900" tIns="121900" rIns="121900" bIns="121900" anchor="b" anchorCtr="0">
            <a:noAutofit/>
          </a:bodyPr>
          <a:lstStyle>
            <a:lvl1pPr lvl="0" algn="ctr" rtl="0">
              <a:spcBef>
                <a:spcPts val="0"/>
              </a:spcBef>
              <a:spcAft>
                <a:spcPts val="0"/>
              </a:spcAft>
              <a:buSzPts val="8000"/>
              <a:buNone/>
              <a:defRPr sz="8000"/>
            </a:lvl1pPr>
            <a:lvl2pPr lvl="1" algn="ctr" rtl="0">
              <a:spcBef>
                <a:spcPts val="0"/>
              </a:spcBef>
              <a:spcAft>
                <a:spcPts val="0"/>
              </a:spcAft>
              <a:buSzPts val="8000"/>
              <a:buNone/>
              <a:defRPr sz="8000"/>
            </a:lvl2pPr>
            <a:lvl3pPr lvl="2" algn="ctr" rtl="0">
              <a:spcBef>
                <a:spcPts val="0"/>
              </a:spcBef>
              <a:spcAft>
                <a:spcPts val="0"/>
              </a:spcAft>
              <a:buSzPts val="8000"/>
              <a:buNone/>
              <a:defRPr sz="8000"/>
            </a:lvl3pPr>
            <a:lvl4pPr lvl="3" algn="ctr" rtl="0">
              <a:spcBef>
                <a:spcPts val="0"/>
              </a:spcBef>
              <a:spcAft>
                <a:spcPts val="0"/>
              </a:spcAft>
              <a:buSzPts val="8000"/>
              <a:buNone/>
              <a:defRPr sz="8000"/>
            </a:lvl4pPr>
            <a:lvl5pPr lvl="4" algn="ctr" rtl="0">
              <a:spcBef>
                <a:spcPts val="0"/>
              </a:spcBef>
              <a:spcAft>
                <a:spcPts val="0"/>
              </a:spcAft>
              <a:buSzPts val="8000"/>
              <a:buNone/>
              <a:defRPr sz="8000"/>
            </a:lvl5pPr>
            <a:lvl6pPr lvl="5" algn="ctr" rtl="0">
              <a:spcBef>
                <a:spcPts val="0"/>
              </a:spcBef>
              <a:spcAft>
                <a:spcPts val="0"/>
              </a:spcAft>
              <a:buSzPts val="8000"/>
              <a:buNone/>
              <a:defRPr sz="8000"/>
            </a:lvl6pPr>
            <a:lvl7pPr lvl="6" algn="ctr" rtl="0">
              <a:spcBef>
                <a:spcPts val="0"/>
              </a:spcBef>
              <a:spcAft>
                <a:spcPts val="0"/>
              </a:spcAft>
              <a:buSzPts val="8000"/>
              <a:buNone/>
              <a:defRPr sz="8000"/>
            </a:lvl7pPr>
            <a:lvl8pPr lvl="7" algn="ctr" rtl="0">
              <a:spcBef>
                <a:spcPts val="0"/>
              </a:spcBef>
              <a:spcAft>
                <a:spcPts val="0"/>
              </a:spcAft>
              <a:buSzPts val="8000"/>
              <a:buNone/>
              <a:defRPr sz="8000"/>
            </a:lvl8pPr>
            <a:lvl9pPr lvl="8" algn="ctr" rtl="0">
              <a:spcBef>
                <a:spcPts val="0"/>
              </a:spcBef>
              <a:spcAft>
                <a:spcPts val="0"/>
              </a:spcAft>
              <a:buSzPts val="8000"/>
              <a:buNone/>
              <a:defRPr sz="8000"/>
            </a:lvl9pPr>
          </a:lstStyle>
          <a:p>
            <a:endParaRPr/>
          </a:p>
        </p:txBody>
      </p:sp>
      <p:sp>
        <p:nvSpPr>
          <p:cNvPr id="219" name="Google Shape;219;p11"/>
          <p:cNvSpPr txBox="1">
            <a:spLocks noGrp="1"/>
          </p:cNvSpPr>
          <p:nvPr>
            <p:ph type="body" idx="1"/>
          </p:nvPr>
        </p:nvSpPr>
        <p:spPr>
          <a:xfrm>
            <a:off x="633475" y="4813250"/>
            <a:ext cx="10909200" cy="1565100"/>
          </a:xfrm>
          <a:prstGeom prst="rect">
            <a:avLst/>
          </a:prstGeom>
        </p:spPr>
        <p:txBody>
          <a:bodyPr spcFirstLastPara="1" wrap="square" lIns="121900" tIns="121900" rIns="121900" bIns="121900" anchor="t" anchorCtr="0">
            <a:noAutofit/>
          </a:bodyPr>
          <a:lstStyle>
            <a:lvl1pPr marL="457200" lvl="0" indent="-368300" algn="ctr">
              <a:spcBef>
                <a:spcPts val="0"/>
              </a:spcBef>
              <a:spcAft>
                <a:spcPts val="0"/>
              </a:spcAft>
              <a:buSzPts val="2200"/>
              <a:buChar char="●"/>
              <a:defRPr/>
            </a:lvl1pPr>
            <a:lvl2pPr marL="914400" lvl="1" indent="-368300" algn="ctr">
              <a:spcBef>
                <a:spcPts val="2100"/>
              </a:spcBef>
              <a:spcAft>
                <a:spcPts val="0"/>
              </a:spcAft>
              <a:buSzPts val="2200"/>
              <a:buChar char="○"/>
              <a:defRPr/>
            </a:lvl2pPr>
            <a:lvl3pPr marL="1371600" lvl="2" indent="-368300" algn="ctr">
              <a:spcBef>
                <a:spcPts val="2100"/>
              </a:spcBef>
              <a:spcAft>
                <a:spcPts val="0"/>
              </a:spcAft>
              <a:buSzPts val="2200"/>
              <a:buChar char="■"/>
              <a:defRPr/>
            </a:lvl3pPr>
            <a:lvl4pPr marL="1828800" lvl="3" indent="-368300" algn="ctr">
              <a:spcBef>
                <a:spcPts val="2100"/>
              </a:spcBef>
              <a:spcAft>
                <a:spcPts val="0"/>
              </a:spcAft>
              <a:buSzPts val="2200"/>
              <a:buChar char="●"/>
              <a:defRPr/>
            </a:lvl4pPr>
            <a:lvl5pPr marL="2286000" lvl="4" indent="-368300" algn="ctr">
              <a:spcBef>
                <a:spcPts val="2100"/>
              </a:spcBef>
              <a:spcAft>
                <a:spcPts val="0"/>
              </a:spcAft>
              <a:buSzPts val="2200"/>
              <a:buChar char="○"/>
              <a:defRPr/>
            </a:lvl5pPr>
            <a:lvl6pPr marL="2743200" lvl="5" indent="-368300" algn="ctr">
              <a:spcBef>
                <a:spcPts val="2100"/>
              </a:spcBef>
              <a:spcAft>
                <a:spcPts val="0"/>
              </a:spcAft>
              <a:buSzPts val="2200"/>
              <a:buChar char="■"/>
              <a:defRPr/>
            </a:lvl6pPr>
            <a:lvl7pPr marL="3200400" lvl="6" indent="-368300" algn="ctr">
              <a:spcBef>
                <a:spcPts val="2100"/>
              </a:spcBef>
              <a:spcAft>
                <a:spcPts val="0"/>
              </a:spcAft>
              <a:buSzPts val="2200"/>
              <a:buChar char="●"/>
              <a:defRPr/>
            </a:lvl7pPr>
            <a:lvl8pPr marL="3657600" lvl="7" indent="-368300" algn="ctr">
              <a:spcBef>
                <a:spcPts val="2100"/>
              </a:spcBef>
              <a:spcAft>
                <a:spcPts val="0"/>
              </a:spcAft>
              <a:buSzPts val="2200"/>
              <a:buChar char="○"/>
              <a:defRPr/>
            </a:lvl8pPr>
            <a:lvl9pPr marL="4114800" lvl="8" indent="-368300" algn="ctr">
              <a:spcBef>
                <a:spcPts val="2100"/>
              </a:spcBef>
              <a:spcAft>
                <a:spcPts val="2100"/>
              </a:spcAft>
              <a:buSzPts val="2200"/>
              <a:buChar char="■"/>
              <a:defRPr/>
            </a:lvl9pPr>
          </a:lstStyle>
          <a:p>
            <a:endParaRPr/>
          </a:p>
        </p:txBody>
      </p:sp>
      <p:grpSp>
        <p:nvGrpSpPr>
          <p:cNvPr id="220" name="Google Shape;220;p11"/>
          <p:cNvGrpSpPr/>
          <p:nvPr/>
        </p:nvGrpSpPr>
        <p:grpSpPr>
          <a:xfrm>
            <a:off x="-988543" y="-204459"/>
            <a:ext cx="5080339" cy="7205301"/>
            <a:chOff x="-988543" y="-204459"/>
            <a:chExt cx="5080339" cy="7205301"/>
          </a:xfrm>
        </p:grpSpPr>
        <p:sp>
          <p:nvSpPr>
            <p:cNvPr id="221" name="Google Shape;221;p11"/>
            <p:cNvSpPr/>
            <p:nvPr/>
          </p:nvSpPr>
          <p:spPr>
            <a:xfrm rot="-10455654" flipH="1">
              <a:off x="1529428" y="-52832"/>
              <a:ext cx="2219931" cy="6960122"/>
            </a:xfrm>
            <a:custGeom>
              <a:avLst/>
              <a:gdLst/>
              <a:ahLst/>
              <a:cxnLst/>
              <a:rect l="l" t="t" r="r" b="b"/>
              <a:pathLst>
                <a:path w="2219903" h="6960035" extrusionOk="0">
                  <a:moveTo>
                    <a:pt x="1767392" y="3555797"/>
                  </a:moveTo>
                  <a:cubicBezTo>
                    <a:pt x="1766415" y="3555797"/>
                    <a:pt x="1762020" y="3549863"/>
                    <a:pt x="1753896" y="3536301"/>
                  </a:cubicBezTo>
                  <a:cubicBezTo>
                    <a:pt x="1763707" y="3500417"/>
                    <a:pt x="1770100" y="3477813"/>
                    <a:pt x="1778491" y="3447015"/>
                  </a:cubicBezTo>
                  <a:cubicBezTo>
                    <a:pt x="1779201" y="3448427"/>
                    <a:pt x="1783596" y="3453513"/>
                    <a:pt x="1792031" y="3464250"/>
                  </a:cubicBezTo>
                  <a:cubicBezTo>
                    <a:pt x="1782131" y="3500134"/>
                    <a:pt x="1776493" y="3522455"/>
                    <a:pt x="1767347" y="3554102"/>
                  </a:cubicBezTo>
                  <a:cubicBezTo>
                    <a:pt x="1767658" y="3555232"/>
                    <a:pt x="1767703" y="3555797"/>
                    <a:pt x="1767392" y="3555797"/>
                  </a:cubicBezTo>
                  <a:close/>
                  <a:moveTo>
                    <a:pt x="0" y="6813259"/>
                  </a:moveTo>
                  <a:lnTo>
                    <a:pt x="26261" y="6815908"/>
                  </a:lnTo>
                  <a:lnTo>
                    <a:pt x="31331" y="6745371"/>
                  </a:lnTo>
                  <a:cubicBezTo>
                    <a:pt x="33007" y="6720083"/>
                    <a:pt x="34772" y="6696490"/>
                    <a:pt x="37236" y="6680808"/>
                  </a:cubicBezTo>
                  <a:cubicBezTo>
                    <a:pt x="46425" y="6622320"/>
                    <a:pt x="52108" y="6546031"/>
                    <a:pt x="58412" y="6478502"/>
                  </a:cubicBezTo>
                  <a:cubicBezTo>
                    <a:pt x="64805" y="6406734"/>
                    <a:pt x="69022" y="6334683"/>
                    <a:pt x="73950" y="6258677"/>
                  </a:cubicBezTo>
                  <a:cubicBezTo>
                    <a:pt x="78922" y="6262915"/>
                    <a:pt x="83140" y="6267436"/>
                    <a:pt x="87402" y="6271957"/>
                  </a:cubicBezTo>
                  <a:cubicBezTo>
                    <a:pt x="81009" y="6375371"/>
                    <a:pt x="68312" y="6456180"/>
                    <a:pt x="70443" y="6573156"/>
                  </a:cubicBezTo>
                  <a:cubicBezTo>
                    <a:pt x="64805" y="6613278"/>
                    <a:pt x="58412" y="6653966"/>
                    <a:pt x="52108" y="6694088"/>
                  </a:cubicBezTo>
                  <a:lnTo>
                    <a:pt x="52108" y="6748055"/>
                  </a:lnTo>
                  <a:lnTo>
                    <a:pt x="41471" y="6817442"/>
                  </a:lnTo>
                  <a:lnTo>
                    <a:pt x="1454950" y="6960035"/>
                  </a:lnTo>
                  <a:lnTo>
                    <a:pt x="1458259" y="6938000"/>
                  </a:lnTo>
                  <a:cubicBezTo>
                    <a:pt x="1473875" y="6836918"/>
                    <a:pt x="1490279" y="6741415"/>
                    <a:pt x="1509680" y="6667246"/>
                  </a:cubicBezTo>
                  <a:cubicBezTo>
                    <a:pt x="1518159" y="6635882"/>
                    <a:pt x="1524508" y="6577394"/>
                    <a:pt x="1532277" y="6528231"/>
                  </a:cubicBezTo>
                  <a:cubicBezTo>
                    <a:pt x="1540712" y="6474263"/>
                    <a:pt x="1548525" y="6415775"/>
                    <a:pt x="1557671" y="6366329"/>
                  </a:cubicBezTo>
                  <a:cubicBezTo>
                    <a:pt x="1565440" y="6330445"/>
                    <a:pt x="1574630" y="6303603"/>
                    <a:pt x="1582399" y="6262916"/>
                  </a:cubicBezTo>
                  <a:cubicBezTo>
                    <a:pt x="1591544" y="6217990"/>
                    <a:pt x="1598603" y="6154981"/>
                    <a:pt x="1607792" y="6105817"/>
                  </a:cubicBezTo>
                  <a:cubicBezTo>
                    <a:pt x="1617692" y="6051850"/>
                    <a:pt x="1629679" y="6015966"/>
                    <a:pt x="1638869" y="5961999"/>
                  </a:cubicBezTo>
                  <a:cubicBezTo>
                    <a:pt x="1648014" y="5912552"/>
                    <a:pt x="1656493" y="5872148"/>
                    <a:pt x="1667104" y="5836264"/>
                  </a:cubicBezTo>
                  <a:cubicBezTo>
                    <a:pt x="1679801" y="5795576"/>
                    <a:pt x="1686860" y="5714767"/>
                    <a:pt x="1701643" y="5669841"/>
                  </a:cubicBezTo>
                  <a:cubicBezTo>
                    <a:pt x="1715761" y="5629719"/>
                    <a:pt x="1724995" y="5530826"/>
                    <a:pt x="1736937" y="5454255"/>
                  </a:cubicBezTo>
                  <a:cubicBezTo>
                    <a:pt x="1738846" y="5454255"/>
                    <a:pt x="1741687" y="5458211"/>
                    <a:pt x="1743552" y="5458211"/>
                  </a:cubicBezTo>
                  <a:cubicBezTo>
                    <a:pt x="1744484" y="5458211"/>
                    <a:pt x="1745195" y="5457363"/>
                    <a:pt x="1745416" y="5454255"/>
                  </a:cubicBezTo>
                  <a:cubicBezTo>
                    <a:pt x="1761710" y="5315240"/>
                    <a:pt x="1789190" y="5265511"/>
                    <a:pt x="1806149" y="5130734"/>
                  </a:cubicBezTo>
                  <a:cubicBezTo>
                    <a:pt x="1817425" y="5112934"/>
                    <a:pt x="1826615" y="5068008"/>
                    <a:pt x="1834384" y="5009803"/>
                  </a:cubicBezTo>
                  <a:cubicBezTo>
                    <a:pt x="1835760" y="5000761"/>
                    <a:pt x="1839356" y="5000761"/>
                    <a:pt x="1842153" y="4995958"/>
                  </a:cubicBezTo>
                  <a:cubicBezTo>
                    <a:pt x="1854140" y="4969115"/>
                    <a:pt x="1859112" y="4865984"/>
                    <a:pt x="1874650" y="4865984"/>
                  </a:cubicBezTo>
                  <a:cubicBezTo>
                    <a:pt x="1876737" y="4865985"/>
                    <a:pt x="1878867" y="4838859"/>
                    <a:pt x="1880954" y="4825297"/>
                  </a:cubicBezTo>
                  <a:cubicBezTo>
                    <a:pt x="1892985" y="4749008"/>
                    <a:pt x="1904972" y="4672437"/>
                    <a:pt x="1921220" y="4618752"/>
                  </a:cubicBezTo>
                  <a:cubicBezTo>
                    <a:pt x="1933917" y="4582586"/>
                    <a:pt x="1941642" y="4501776"/>
                    <a:pt x="1955759" y="4456851"/>
                  </a:cubicBezTo>
                  <a:cubicBezTo>
                    <a:pt x="1969211" y="4411926"/>
                    <a:pt x="1979111" y="4326878"/>
                    <a:pt x="1993229" y="4272911"/>
                  </a:cubicBezTo>
                  <a:cubicBezTo>
                    <a:pt x="2007346" y="4223464"/>
                    <a:pt x="2018623" y="4138134"/>
                    <a:pt x="2028523" y="4057325"/>
                  </a:cubicBezTo>
                  <a:cubicBezTo>
                    <a:pt x="2039089" y="3971712"/>
                    <a:pt x="2055337" y="3953910"/>
                    <a:pt x="2067323" y="3877622"/>
                  </a:cubicBezTo>
                  <a:cubicBezTo>
                    <a:pt x="2086369" y="3751887"/>
                    <a:pt x="2102573" y="3599027"/>
                    <a:pt x="2129432" y="3531497"/>
                  </a:cubicBezTo>
                  <a:lnTo>
                    <a:pt x="2219775" y="2956507"/>
                  </a:lnTo>
                  <a:cubicBezTo>
                    <a:pt x="2220486" y="2893497"/>
                    <a:pt x="2218355" y="2866655"/>
                    <a:pt x="2210630" y="2866655"/>
                  </a:cubicBezTo>
                  <a:cubicBezTo>
                    <a:pt x="2210186" y="2866938"/>
                    <a:pt x="2209742" y="2866938"/>
                    <a:pt x="2209343" y="2866938"/>
                  </a:cubicBezTo>
                  <a:cubicBezTo>
                    <a:pt x="2201485" y="2866938"/>
                    <a:pt x="2202151" y="2824273"/>
                    <a:pt x="2202151" y="2785845"/>
                  </a:cubicBezTo>
                  <a:cubicBezTo>
                    <a:pt x="2207789" y="2745441"/>
                    <a:pt x="2214137" y="2704754"/>
                    <a:pt x="2219775" y="2664631"/>
                  </a:cubicBezTo>
                  <a:cubicBezTo>
                    <a:pt x="2216934" y="2642310"/>
                    <a:pt x="2213427" y="2637789"/>
                    <a:pt x="2209787" y="2637789"/>
                  </a:cubicBezTo>
                  <a:cubicBezTo>
                    <a:pt x="2207389" y="2637789"/>
                    <a:pt x="2204948" y="2639767"/>
                    <a:pt x="2202639" y="2639767"/>
                  </a:cubicBezTo>
                  <a:cubicBezTo>
                    <a:pt x="2201485" y="2639767"/>
                    <a:pt x="2200375" y="2639202"/>
                    <a:pt x="2199310" y="2637789"/>
                  </a:cubicBezTo>
                  <a:cubicBezTo>
                    <a:pt x="2189454" y="2664631"/>
                    <a:pt x="2186613" y="2745441"/>
                    <a:pt x="2176002" y="2749679"/>
                  </a:cubicBezTo>
                  <a:cubicBezTo>
                    <a:pt x="2173916" y="2772566"/>
                    <a:pt x="2171785" y="2790366"/>
                    <a:pt x="2169698" y="2803647"/>
                  </a:cubicBezTo>
                  <a:cubicBezTo>
                    <a:pt x="2163305" y="2754483"/>
                    <a:pt x="2170364" y="2758721"/>
                    <a:pt x="2176002" y="2749679"/>
                  </a:cubicBezTo>
                  <a:cubicBezTo>
                    <a:pt x="2173916" y="2718598"/>
                    <a:pt x="2177422" y="2677911"/>
                    <a:pt x="2171074" y="2642027"/>
                  </a:cubicBezTo>
                  <a:cubicBezTo>
                    <a:pt x="2168277" y="2655590"/>
                    <a:pt x="2165436" y="2673673"/>
                    <a:pt x="2161884" y="2691474"/>
                  </a:cubicBezTo>
                  <a:lnTo>
                    <a:pt x="2130142" y="2691474"/>
                  </a:lnTo>
                  <a:cubicBezTo>
                    <a:pt x="2135070" y="2628748"/>
                    <a:pt x="2138622" y="2579019"/>
                    <a:pt x="2142839" y="2529855"/>
                  </a:cubicBezTo>
                  <a:cubicBezTo>
                    <a:pt x="2147101" y="2525051"/>
                    <a:pt x="2151319" y="2516292"/>
                    <a:pt x="2156957" y="2511772"/>
                  </a:cubicBezTo>
                  <a:cubicBezTo>
                    <a:pt x="2156957" y="2471367"/>
                    <a:pt x="2157667" y="2435200"/>
                    <a:pt x="2156957" y="2399316"/>
                  </a:cubicBezTo>
                  <a:cubicBezTo>
                    <a:pt x="2156335" y="2353543"/>
                    <a:pt x="2151674" y="2350152"/>
                    <a:pt x="2145903" y="2350153"/>
                  </a:cubicBezTo>
                  <a:cubicBezTo>
                    <a:pt x="2144926" y="2350152"/>
                    <a:pt x="2143905" y="2350152"/>
                    <a:pt x="2142839" y="2350153"/>
                  </a:cubicBezTo>
                  <a:cubicBezTo>
                    <a:pt x="2119532" y="2503012"/>
                    <a:pt x="2095559" y="2659828"/>
                    <a:pt x="2072251" y="2812688"/>
                  </a:cubicBezTo>
                  <a:cubicBezTo>
                    <a:pt x="2066613" y="2812688"/>
                    <a:pt x="2062396" y="2812688"/>
                    <a:pt x="2058844" y="2808450"/>
                  </a:cubicBezTo>
                  <a:cubicBezTo>
                    <a:pt x="2056757" y="2830772"/>
                    <a:pt x="2054582" y="2848572"/>
                    <a:pt x="2052496" y="2862417"/>
                  </a:cubicBezTo>
                  <a:cubicBezTo>
                    <a:pt x="2046147" y="2812688"/>
                    <a:pt x="2053206" y="2817492"/>
                    <a:pt x="2058844" y="2808450"/>
                  </a:cubicBezTo>
                  <a:cubicBezTo>
                    <a:pt x="2058844" y="2731879"/>
                    <a:pt x="2074382" y="2718599"/>
                    <a:pt x="2075759" y="2628748"/>
                  </a:cubicBezTo>
                  <a:cubicBezTo>
                    <a:pt x="2072962" y="2597102"/>
                    <a:pt x="2070121" y="2561218"/>
                    <a:pt x="2066613" y="2525051"/>
                  </a:cubicBezTo>
                  <a:cubicBezTo>
                    <a:pt x="2063816" y="2525051"/>
                    <a:pt x="2060265" y="2525051"/>
                    <a:pt x="2058844" y="2520813"/>
                  </a:cubicBezTo>
                  <a:cubicBezTo>
                    <a:pt x="2056758" y="2543134"/>
                    <a:pt x="2054582" y="2561218"/>
                    <a:pt x="2052496" y="2574780"/>
                  </a:cubicBezTo>
                  <a:cubicBezTo>
                    <a:pt x="2046147" y="2525051"/>
                    <a:pt x="2053206" y="2529855"/>
                    <a:pt x="2058844" y="2520813"/>
                  </a:cubicBezTo>
                  <a:cubicBezTo>
                    <a:pt x="2057423" y="2484929"/>
                    <a:pt x="2060265" y="2466846"/>
                    <a:pt x="2066613" y="2466846"/>
                  </a:cubicBezTo>
                  <a:cubicBezTo>
                    <a:pt x="2066613" y="2426441"/>
                    <a:pt x="2069454" y="2408358"/>
                    <a:pt x="2075759" y="2408358"/>
                  </a:cubicBezTo>
                  <a:cubicBezTo>
                    <a:pt x="2074382" y="2372474"/>
                    <a:pt x="2078600" y="2332069"/>
                    <a:pt x="2072962" y="2305227"/>
                  </a:cubicBezTo>
                  <a:cubicBezTo>
                    <a:pt x="2070121" y="2300424"/>
                    <a:pt x="2067324" y="2296185"/>
                    <a:pt x="2061641" y="2291665"/>
                  </a:cubicBezTo>
                  <a:cubicBezTo>
                    <a:pt x="2051075" y="2372474"/>
                    <a:pt x="2036247" y="2440004"/>
                    <a:pt x="2020709" y="2507251"/>
                  </a:cubicBezTo>
                  <a:cubicBezTo>
                    <a:pt x="2005925" y="2569977"/>
                    <a:pt x="1993894" y="2668870"/>
                    <a:pt x="1980487" y="2758721"/>
                  </a:cubicBezTo>
                  <a:cubicBezTo>
                    <a:pt x="1974139" y="2709557"/>
                    <a:pt x="1977690" y="2659828"/>
                    <a:pt x="1976270" y="2606144"/>
                  </a:cubicBezTo>
                  <a:cubicBezTo>
                    <a:pt x="1981908" y="2574780"/>
                    <a:pt x="1988966" y="2534093"/>
                    <a:pt x="1994605" y="2507251"/>
                  </a:cubicBezTo>
                  <a:lnTo>
                    <a:pt x="1994605" y="2408358"/>
                  </a:lnTo>
                  <a:cubicBezTo>
                    <a:pt x="1989677" y="2426441"/>
                    <a:pt x="1984749" y="2444242"/>
                    <a:pt x="1977690" y="2471367"/>
                  </a:cubicBezTo>
                  <a:cubicBezTo>
                    <a:pt x="1977380" y="2471649"/>
                    <a:pt x="1977069" y="2471932"/>
                    <a:pt x="1976714" y="2471932"/>
                  </a:cubicBezTo>
                  <a:cubicBezTo>
                    <a:pt x="1974583" y="2471932"/>
                    <a:pt x="1971564" y="2465998"/>
                    <a:pt x="1968279" y="2465998"/>
                  </a:cubicBezTo>
                  <a:cubicBezTo>
                    <a:pt x="1965526" y="2465998"/>
                    <a:pt x="1962641" y="2469954"/>
                    <a:pt x="1960021" y="2484929"/>
                  </a:cubicBezTo>
                  <a:cubicBezTo>
                    <a:pt x="1958600" y="2516292"/>
                    <a:pt x="1956514" y="2547938"/>
                    <a:pt x="1955093" y="2579019"/>
                  </a:cubicBezTo>
                  <a:lnTo>
                    <a:pt x="1943817" y="2579019"/>
                  </a:lnTo>
                  <a:cubicBezTo>
                    <a:pt x="1935338" y="2637789"/>
                    <a:pt x="1926858" y="2700515"/>
                    <a:pt x="1919089" y="2754482"/>
                  </a:cubicBezTo>
                  <a:lnTo>
                    <a:pt x="1904261" y="2754483"/>
                  </a:lnTo>
                  <a:cubicBezTo>
                    <a:pt x="1904261" y="2763524"/>
                    <a:pt x="1904972" y="2776804"/>
                    <a:pt x="1904261" y="2781325"/>
                  </a:cubicBezTo>
                  <a:lnTo>
                    <a:pt x="1845660" y="3154010"/>
                  </a:lnTo>
                  <a:lnTo>
                    <a:pt x="1831542" y="3154009"/>
                  </a:lnTo>
                  <a:lnTo>
                    <a:pt x="1831542" y="3270985"/>
                  </a:lnTo>
                  <a:cubicBezTo>
                    <a:pt x="1824484" y="3270985"/>
                    <a:pt x="1818846" y="3270986"/>
                    <a:pt x="1815338" y="3266747"/>
                  </a:cubicBezTo>
                  <a:cubicBezTo>
                    <a:pt x="1812497" y="3293590"/>
                    <a:pt x="1810366" y="3306869"/>
                    <a:pt x="1808280" y="3324953"/>
                  </a:cubicBezTo>
                  <a:cubicBezTo>
                    <a:pt x="1801886" y="3270986"/>
                    <a:pt x="1808946" y="3275506"/>
                    <a:pt x="1815338" y="3266747"/>
                  </a:cubicBezTo>
                  <a:cubicBezTo>
                    <a:pt x="1816004" y="3207976"/>
                    <a:pt x="1821642" y="3172092"/>
                    <a:pt x="1831542" y="3154009"/>
                  </a:cubicBezTo>
                  <a:cubicBezTo>
                    <a:pt x="1831543" y="3145251"/>
                    <a:pt x="1830877" y="3131971"/>
                    <a:pt x="1831542" y="3127167"/>
                  </a:cubicBezTo>
                  <a:lnTo>
                    <a:pt x="1890144" y="2754483"/>
                  </a:lnTo>
                  <a:lnTo>
                    <a:pt x="1904261" y="2754483"/>
                  </a:lnTo>
                  <a:cubicBezTo>
                    <a:pt x="1910610" y="2673673"/>
                    <a:pt x="1914827" y="2583822"/>
                    <a:pt x="1926148" y="2525051"/>
                  </a:cubicBezTo>
                  <a:cubicBezTo>
                    <a:pt x="1933206" y="2525051"/>
                    <a:pt x="1940265" y="2520813"/>
                    <a:pt x="1947324" y="2520813"/>
                  </a:cubicBezTo>
                  <a:cubicBezTo>
                    <a:pt x="1948034" y="2404119"/>
                    <a:pt x="1955759" y="2323310"/>
                    <a:pt x="1962818" y="2237697"/>
                  </a:cubicBezTo>
                  <a:lnTo>
                    <a:pt x="1972052" y="2237697"/>
                  </a:lnTo>
                  <a:cubicBezTo>
                    <a:pt x="1979777" y="2201813"/>
                    <a:pt x="1974849" y="2129763"/>
                    <a:pt x="1983994" y="2093879"/>
                  </a:cubicBezTo>
                  <a:cubicBezTo>
                    <a:pt x="1991808" y="2067037"/>
                    <a:pt x="1997446" y="2022111"/>
                    <a:pt x="2003084" y="1977185"/>
                  </a:cubicBezTo>
                  <a:cubicBezTo>
                    <a:pt x="2009433" y="1927739"/>
                    <a:pt x="2019288" y="1900897"/>
                    <a:pt x="2022130" y="1824325"/>
                  </a:cubicBezTo>
                  <a:cubicBezTo>
                    <a:pt x="2024261" y="1779400"/>
                    <a:pt x="2032740" y="1739277"/>
                    <a:pt x="2038378" y="1698590"/>
                  </a:cubicBezTo>
                  <a:lnTo>
                    <a:pt x="2057424" y="1577376"/>
                  </a:lnTo>
                  <a:lnTo>
                    <a:pt x="2057424" y="1518888"/>
                  </a:lnTo>
                  <a:lnTo>
                    <a:pt x="2066613" y="1460682"/>
                  </a:lnTo>
                  <a:lnTo>
                    <a:pt x="2066613" y="1375070"/>
                  </a:lnTo>
                  <a:cubicBezTo>
                    <a:pt x="2056003" y="1352748"/>
                    <a:pt x="2048278" y="1316864"/>
                    <a:pt x="2048944" y="1209212"/>
                  </a:cubicBezTo>
                  <a:cubicBezTo>
                    <a:pt x="2053206" y="1186326"/>
                    <a:pt x="2060265" y="1155245"/>
                    <a:pt x="2066613" y="1114558"/>
                  </a:cubicBezTo>
                  <a:cubicBezTo>
                    <a:pt x="2068034" y="1101278"/>
                    <a:pt x="2065193" y="1060590"/>
                    <a:pt x="2064482" y="1033748"/>
                  </a:cubicBezTo>
                  <a:cubicBezTo>
                    <a:pt x="2060265" y="1033748"/>
                    <a:pt x="2056447" y="1026402"/>
                    <a:pt x="2053295" y="1026402"/>
                  </a:cubicBezTo>
                  <a:cubicBezTo>
                    <a:pt x="2052229" y="1026402"/>
                    <a:pt x="2051253" y="1027249"/>
                    <a:pt x="2050365" y="1029510"/>
                  </a:cubicBezTo>
                  <a:cubicBezTo>
                    <a:pt x="2037668" y="1065394"/>
                    <a:pt x="2025681" y="1105516"/>
                    <a:pt x="2012984" y="1146203"/>
                  </a:cubicBezTo>
                  <a:lnTo>
                    <a:pt x="1990387" y="1146203"/>
                  </a:lnTo>
                  <a:cubicBezTo>
                    <a:pt x="1987546" y="1164287"/>
                    <a:pt x="1983994" y="1182087"/>
                    <a:pt x="1979777" y="1204409"/>
                  </a:cubicBezTo>
                  <a:cubicBezTo>
                    <a:pt x="1978490" y="1200171"/>
                    <a:pt x="1977069" y="1199040"/>
                    <a:pt x="1975559" y="1199040"/>
                  </a:cubicBezTo>
                  <a:cubicBezTo>
                    <a:pt x="1973207" y="1199041"/>
                    <a:pt x="1970676" y="1202148"/>
                    <a:pt x="1968146" y="1202148"/>
                  </a:cubicBezTo>
                  <a:cubicBezTo>
                    <a:pt x="1965349" y="1202149"/>
                    <a:pt x="1962596" y="1198193"/>
                    <a:pt x="1960021" y="1182088"/>
                  </a:cubicBezTo>
                  <a:lnTo>
                    <a:pt x="1957935" y="1128120"/>
                  </a:lnTo>
                  <a:cubicBezTo>
                    <a:pt x="1967790" y="1024707"/>
                    <a:pt x="1986836" y="970739"/>
                    <a:pt x="1994605" y="863088"/>
                  </a:cubicBezTo>
                  <a:cubicBezTo>
                    <a:pt x="1993539" y="809968"/>
                    <a:pt x="1989810" y="799514"/>
                    <a:pt x="1985504" y="799514"/>
                  </a:cubicBezTo>
                  <a:cubicBezTo>
                    <a:pt x="1982751" y="799514"/>
                    <a:pt x="1979777" y="803752"/>
                    <a:pt x="1977069" y="803752"/>
                  </a:cubicBezTo>
                  <a:cubicBezTo>
                    <a:pt x="1975781" y="803752"/>
                    <a:pt x="1974538" y="802904"/>
                    <a:pt x="1973428" y="800079"/>
                  </a:cubicBezTo>
                  <a:cubicBezTo>
                    <a:pt x="1963484" y="825226"/>
                    <a:pt x="1959799" y="913664"/>
                    <a:pt x="1947147" y="913664"/>
                  </a:cubicBezTo>
                  <a:cubicBezTo>
                    <a:pt x="1946303" y="913664"/>
                    <a:pt x="1945415" y="913382"/>
                    <a:pt x="1944483" y="912534"/>
                  </a:cubicBezTo>
                  <a:lnTo>
                    <a:pt x="1912741" y="1114558"/>
                  </a:lnTo>
                  <a:cubicBezTo>
                    <a:pt x="1911320" y="1123600"/>
                    <a:pt x="1909189" y="1128120"/>
                    <a:pt x="1907103" y="1132641"/>
                  </a:cubicBezTo>
                  <a:cubicBezTo>
                    <a:pt x="1901464" y="1101278"/>
                    <a:pt x="1896492" y="1065394"/>
                    <a:pt x="1890854" y="1029510"/>
                  </a:cubicBezTo>
                  <a:cubicBezTo>
                    <a:pt x="1887347" y="1047311"/>
                    <a:pt x="1884506" y="1069632"/>
                    <a:pt x="1880954" y="1087716"/>
                  </a:cubicBezTo>
                  <a:lnTo>
                    <a:pt x="1868257" y="1087716"/>
                  </a:lnTo>
                  <a:cubicBezTo>
                    <a:pt x="1868257" y="1128120"/>
                    <a:pt x="1865416" y="1146203"/>
                    <a:pt x="1859112" y="1146204"/>
                  </a:cubicBezTo>
                  <a:cubicBezTo>
                    <a:pt x="1855737" y="1180957"/>
                    <a:pt x="1854362" y="1194802"/>
                    <a:pt x="1851298" y="1194802"/>
                  </a:cubicBezTo>
                  <a:cubicBezTo>
                    <a:pt x="1849212" y="1194802"/>
                    <a:pt x="1846281" y="1188303"/>
                    <a:pt x="1841443" y="1177567"/>
                  </a:cubicBezTo>
                  <a:cubicBezTo>
                    <a:pt x="1843085" y="1148464"/>
                    <a:pt x="1845749" y="1141400"/>
                    <a:pt x="1848723" y="1141400"/>
                  </a:cubicBezTo>
                  <a:cubicBezTo>
                    <a:pt x="1851476" y="1141400"/>
                    <a:pt x="1854494" y="1147616"/>
                    <a:pt x="1857158" y="1147616"/>
                  </a:cubicBezTo>
                  <a:cubicBezTo>
                    <a:pt x="1857824" y="1147617"/>
                    <a:pt x="1858490" y="1147051"/>
                    <a:pt x="1859112" y="1146204"/>
                  </a:cubicBezTo>
                  <a:cubicBezTo>
                    <a:pt x="1858446" y="1108907"/>
                    <a:pt x="1861376" y="1087150"/>
                    <a:pt x="1866747" y="1087150"/>
                  </a:cubicBezTo>
                  <a:cubicBezTo>
                    <a:pt x="1867236" y="1087150"/>
                    <a:pt x="1867724" y="1087150"/>
                    <a:pt x="1868257" y="1087716"/>
                  </a:cubicBezTo>
                  <a:cubicBezTo>
                    <a:pt x="1868967" y="1024707"/>
                    <a:pt x="1876026" y="988823"/>
                    <a:pt x="1883795" y="975543"/>
                  </a:cubicBezTo>
                  <a:cubicBezTo>
                    <a:pt x="1898623" y="943897"/>
                    <a:pt x="1907103" y="880888"/>
                    <a:pt x="1912741" y="800079"/>
                  </a:cubicBezTo>
                  <a:lnTo>
                    <a:pt x="1876026" y="800079"/>
                  </a:lnTo>
                  <a:cubicBezTo>
                    <a:pt x="1859112" y="849808"/>
                    <a:pt x="1846415" y="908013"/>
                    <a:pt x="1833674" y="970740"/>
                  </a:cubicBezTo>
                  <a:cubicBezTo>
                    <a:pt x="1826615" y="1006623"/>
                    <a:pt x="1816004" y="1015665"/>
                    <a:pt x="1807525" y="1042790"/>
                  </a:cubicBezTo>
                  <a:cubicBezTo>
                    <a:pt x="1798380" y="1069632"/>
                    <a:pt x="1788524" y="1101278"/>
                    <a:pt x="1782885" y="1146204"/>
                  </a:cubicBezTo>
                  <a:cubicBezTo>
                    <a:pt x="1775827" y="1204409"/>
                    <a:pt x="1763086" y="1186326"/>
                    <a:pt x="1756737" y="1245096"/>
                  </a:cubicBezTo>
                  <a:cubicBezTo>
                    <a:pt x="1756737" y="1245661"/>
                    <a:pt x="1756648" y="1245944"/>
                    <a:pt x="1756559" y="1245944"/>
                  </a:cubicBezTo>
                  <a:cubicBezTo>
                    <a:pt x="1755805" y="1245944"/>
                    <a:pt x="1752919" y="1235489"/>
                    <a:pt x="1751055" y="1231251"/>
                  </a:cubicBezTo>
                  <a:cubicBezTo>
                    <a:pt x="1751054" y="1213450"/>
                    <a:pt x="1750389" y="1195367"/>
                    <a:pt x="1750388" y="1182088"/>
                  </a:cubicBezTo>
                  <a:cubicBezTo>
                    <a:pt x="1756737" y="1119361"/>
                    <a:pt x="1765927" y="1101278"/>
                    <a:pt x="1774406" y="1069632"/>
                  </a:cubicBezTo>
                  <a:cubicBezTo>
                    <a:pt x="1784972" y="1033748"/>
                    <a:pt x="1791321" y="961698"/>
                    <a:pt x="1798379" y="916772"/>
                  </a:cubicBezTo>
                  <a:cubicBezTo>
                    <a:pt x="1800333" y="913947"/>
                    <a:pt x="1802242" y="913382"/>
                    <a:pt x="1804062" y="913382"/>
                  </a:cubicBezTo>
                  <a:cubicBezTo>
                    <a:pt x="1806504" y="913382"/>
                    <a:pt x="1808901" y="914794"/>
                    <a:pt x="1811165" y="914795"/>
                  </a:cubicBezTo>
                  <a:cubicBezTo>
                    <a:pt x="1815161" y="914795"/>
                    <a:pt x="1818846" y="910274"/>
                    <a:pt x="1822397" y="885692"/>
                  </a:cubicBezTo>
                  <a:cubicBezTo>
                    <a:pt x="1822397" y="867609"/>
                    <a:pt x="1821642" y="840766"/>
                    <a:pt x="1821642" y="818162"/>
                  </a:cubicBezTo>
                  <a:cubicBezTo>
                    <a:pt x="1818179" y="809120"/>
                    <a:pt x="1815338" y="800079"/>
                    <a:pt x="1812497" y="800079"/>
                  </a:cubicBezTo>
                  <a:cubicBezTo>
                    <a:pt x="1810854" y="797536"/>
                    <a:pt x="1808990" y="794993"/>
                    <a:pt x="1807125" y="794993"/>
                  </a:cubicBezTo>
                  <a:cubicBezTo>
                    <a:pt x="1805793" y="794993"/>
                    <a:pt x="1804506" y="796405"/>
                    <a:pt x="1803307" y="800079"/>
                  </a:cubicBezTo>
                  <a:cubicBezTo>
                    <a:pt x="1798380" y="813641"/>
                    <a:pt x="1794162" y="854046"/>
                    <a:pt x="1789190" y="854046"/>
                  </a:cubicBezTo>
                  <a:cubicBezTo>
                    <a:pt x="1788923" y="854046"/>
                    <a:pt x="1788657" y="853764"/>
                    <a:pt x="1788390" y="853763"/>
                  </a:cubicBezTo>
                  <a:cubicBezTo>
                    <a:pt x="1774362" y="853763"/>
                    <a:pt x="1772852" y="961980"/>
                    <a:pt x="1765172" y="966501"/>
                  </a:cubicBezTo>
                  <a:cubicBezTo>
                    <a:pt x="1754650" y="970740"/>
                    <a:pt x="1748968" y="975543"/>
                    <a:pt x="1743996" y="975543"/>
                  </a:cubicBezTo>
                  <a:cubicBezTo>
                    <a:pt x="1741909" y="1020468"/>
                    <a:pt x="1739778" y="1051549"/>
                    <a:pt x="1737692" y="1087716"/>
                  </a:cubicBezTo>
                  <a:cubicBezTo>
                    <a:pt x="1733474" y="1083195"/>
                    <a:pt x="1729212" y="1078674"/>
                    <a:pt x="1724240" y="1074435"/>
                  </a:cubicBezTo>
                  <a:lnTo>
                    <a:pt x="1724240" y="939659"/>
                  </a:lnTo>
                  <a:cubicBezTo>
                    <a:pt x="1733474" y="880888"/>
                    <a:pt x="1741909" y="826921"/>
                    <a:pt x="1750389" y="768716"/>
                  </a:cubicBezTo>
                  <a:cubicBezTo>
                    <a:pt x="1751809" y="759956"/>
                    <a:pt x="1750389" y="732832"/>
                    <a:pt x="1750389" y="715031"/>
                  </a:cubicBezTo>
                  <a:cubicBezTo>
                    <a:pt x="1747103" y="690167"/>
                    <a:pt x="1744307" y="681125"/>
                    <a:pt x="1741865" y="681125"/>
                  </a:cubicBezTo>
                  <a:cubicBezTo>
                    <a:pt x="1735827" y="681125"/>
                    <a:pt x="1731832" y="734244"/>
                    <a:pt x="1727792" y="737070"/>
                  </a:cubicBezTo>
                  <a:cubicBezTo>
                    <a:pt x="1719357" y="741873"/>
                    <a:pt x="1712964" y="746112"/>
                    <a:pt x="1708702" y="746111"/>
                  </a:cubicBezTo>
                  <a:cubicBezTo>
                    <a:pt x="1702398" y="791037"/>
                    <a:pt x="1696760" y="822683"/>
                    <a:pt x="1690367" y="867609"/>
                  </a:cubicBezTo>
                  <a:cubicBezTo>
                    <a:pt x="1684728" y="849808"/>
                    <a:pt x="1679091" y="826921"/>
                    <a:pt x="1674829" y="813641"/>
                  </a:cubicBezTo>
                  <a:cubicBezTo>
                    <a:pt x="1661466" y="849808"/>
                    <a:pt x="1646593" y="871847"/>
                    <a:pt x="1636738" y="930617"/>
                  </a:cubicBezTo>
                  <a:cubicBezTo>
                    <a:pt x="1624751" y="993344"/>
                    <a:pt x="1609213" y="943897"/>
                    <a:pt x="1599357" y="1029510"/>
                  </a:cubicBezTo>
                  <a:cubicBezTo>
                    <a:pt x="1597937" y="993344"/>
                    <a:pt x="1595806" y="970740"/>
                    <a:pt x="1597182" y="961698"/>
                  </a:cubicBezTo>
                  <a:cubicBezTo>
                    <a:pt x="1601444" y="925814"/>
                    <a:pt x="1605661" y="867609"/>
                    <a:pt x="1611300" y="863088"/>
                  </a:cubicBezTo>
                  <a:cubicBezTo>
                    <a:pt x="1619779" y="854046"/>
                    <a:pt x="1626172" y="831725"/>
                    <a:pt x="1628969" y="791037"/>
                  </a:cubicBezTo>
                  <a:cubicBezTo>
                    <a:pt x="1638869" y="652022"/>
                    <a:pt x="1658624" y="548609"/>
                    <a:pt x="1663552" y="395749"/>
                  </a:cubicBezTo>
                  <a:lnTo>
                    <a:pt x="1674828" y="395749"/>
                  </a:lnTo>
                  <a:cubicBezTo>
                    <a:pt x="1681222" y="319460"/>
                    <a:pt x="1692498" y="287814"/>
                    <a:pt x="1704484" y="256734"/>
                  </a:cubicBezTo>
                  <a:cubicBezTo>
                    <a:pt x="1705239" y="229609"/>
                    <a:pt x="1705905" y="202766"/>
                    <a:pt x="1706615" y="197963"/>
                  </a:cubicBezTo>
                  <a:cubicBezTo>
                    <a:pt x="1713496" y="176701"/>
                    <a:pt x="1719540" y="151484"/>
                    <a:pt x="1725043" y="123864"/>
                  </a:cubicBezTo>
                  <a:lnTo>
                    <a:pt x="1729999" y="94974"/>
                  </a:lnTo>
                  <a:lnTo>
                    <a:pt x="936702" y="14946"/>
                  </a:lnTo>
                  <a:lnTo>
                    <a:pt x="936087" y="26910"/>
                  </a:lnTo>
                  <a:cubicBezTo>
                    <a:pt x="935654" y="32847"/>
                    <a:pt x="935122" y="37686"/>
                    <a:pt x="934411" y="41147"/>
                  </a:cubicBezTo>
                  <a:cubicBezTo>
                    <a:pt x="889261" y="332740"/>
                    <a:pt x="843313" y="625180"/>
                    <a:pt x="797497" y="912534"/>
                  </a:cubicBezTo>
                  <a:cubicBezTo>
                    <a:pt x="797231" y="913947"/>
                    <a:pt x="796832" y="914512"/>
                    <a:pt x="796388" y="914512"/>
                  </a:cubicBezTo>
                  <a:cubicBezTo>
                    <a:pt x="795411" y="914512"/>
                    <a:pt x="794168" y="912534"/>
                    <a:pt x="793236" y="912534"/>
                  </a:cubicBezTo>
                  <a:cubicBezTo>
                    <a:pt x="793236" y="952939"/>
                    <a:pt x="790439" y="970739"/>
                    <a:pt x="784046" y="970739"/>
                  </a:cubicBezTo>
                  <a:cubicBezTo>
                    <a:pt x="784046" y="1011427"/>
                    <a:pt x="781205" y="1029510"/>
                    <a:pt x="774901" y="1029510"/>
                  </a:cubicBezTo>
                  <a:cubicBezTo>
                    <a:pt x="775522" y="1065677"/>
                    <a:pt x="772725" y="1084042"/>
                    <a:pt x="768508" y="1084042"/>
                  </a:cubicBezTo>
                  <a:cubicBezTo>
                    <a:pt x="768064" y="1084042"/>
                    <a:pt x="767575" y="1083760"/>
                    <a:pt x="767087" y="1083195"/>
                  </a:cubicBezTo>
                  <a:cubicBezTo>
                    <a:pt x="765000" y="1105516"/>
                    <a:pt x="762870" y="1123600"/>
                    <a:pt x="760783" y="1137162"/>
                  </a:cubicBezTo>
                  <a:cubicBezTo>
                    <a:pt x="754390" y="1087715"/>
                    <a:pt x="761449" y="1092236"/>
                    <a:pt x="767087" y="1083195"/>
                  </a:cubicBezTo>
                  <a:cubicBezTo>
                    <a:pt x="765711" y="1047311"/>
                    <a:pt x="768508" y="1029510"/>
                    <a:pt x="774901" y="1029510"/>
                  </a:cubicBezTo>
                  <a:cubicBezTo>
                    <a:pt x="774901" y="988823"/>
                    <a:pt x="777697" y="970740"/>
                    <a:pt x="784046" y="970739"/>
                  </a:cubicBezTo>
                  <a:cubicBezTo>
                    <a:pt x="784046" y="930617"/>
                    <a:pt x="786887" y="912534"/>
                    <a:pt x="793236" y="912534"/>
                  </a:cubicBezTo>
                  <a:lnTo>
                    <a:pt x="793236" y="791037"/>
                  </a:lnTo>
                  <a:cubicBezTo>
                    <a:pt x="800294" y="755153"/>
                    <a:pt x="810860" y="701186"/>
                    <a:pt x="817253" y="674344"/>
                  </a:cubicBezTo>
                  <a:cubicBezTo>
                    <a:pt x="820760" y="616138"/>
                    <a:pt x="822891" y="589014"/>
                    <a:pt x="823557" y="575451"/>
                  </a:cubicBezTo>
                  <a:cubicBezTo>
                    <a:pt x="829240" y="566409"/>
                    <a:pt x="833457" y="562171"/>
                    <a:pt x="837009" y="557368"/>
                  </a:cubicBezTo>
                  <a:cubicBezTo>
                    <a:pt x="838430" y="521484"/>
                    <a:pt x="839095" y="494641"/>
                    <a:pt x="839850" y="485600"/>
                  </a:cubicBezTo>
                  <a:cubicBezTo>
                    <a:pt x="849706" y="445478"/>
                    <a:pt x="858185" y="409311"/>
                    <a:pt x="865244" y="377665"/>
                  </a:cubicBezTo>
                  <a:lnTo>
                    <a:pt x="865244" y="310701"/>
                  </a:lnTo>
                  <a:cubicBezTo>
                    <a:pt x="875144" y="247692"/>
                    <a:pt x="884289" y="184683"/>
                    <a:pt x="894145" y="130998"/>
                  </a:cubicBezTo>
                  <a:cubicBezTo>
                    <a:pt x="899450" y="101613"/>
                    <a:pt x="903168" y="67919"/>
                    <a:pt x="906526" y="33095"/>
                  </a:cubicBezTo>
                  <a:lnTo>
                    <a:pt x="908574" y="12108"/>
                  </a:lnTo>
                  <a:lnTo>
                    <a:pt x="788545" y="0"/>
                  </a:lnTo>
                  <a:lnTo>
                    <a:pt x="788263" y="460"/>
                  </a:lnTo>
                  <a:cubicBezTo>
                    <a:pt x="786177" y="460"/>
                    <a:pt x="784756" y="27302"/>
                    <a:pt x="784046" y="45386"/>
                  </a:cubicBezTo>
                  <a:cubicBezTo>
                    <a:pt x="783380" y="112915"/>
                    <a:pt x="775566" y="157841"/>
                    <a:pt x="767842" y="162079"/>
                  </a:cubicBezTo>
                  <a:cubicBezTo>
                    <a:pt x="750173" y="175924"/>
                    <a:pt x="751593" y="279055"/>
                    <a:pt x="743824" y="337543"/>
                  </a:cubicBezTo>
                  <a:cubicBezTo>
                    <a:pt x="741027" y="337543"/>
                    <a:pt x="738186" y="337543"/>
                    <a:pt x="733969" y="341781"/>
                  </a:cubicBezTo>
                  <a:cubicBezTo>
                    <a:pt x="727576" y="386707"/>
                    <a:pt x="720517" y="431632"/>
                    <a:pt x="712037" y="485600"/>
                  </a:cubicBezTo>
                  <a:lnTo>
                    <a:pt x="712037" y="535328"/>
                  </a:lnTo>
                  <a:cubicBezTo>
                    <a:pt x="697254" y="589013"/>
                    <a:pt x="681005" y="633939"/>
                    <a:pt x="675323" y="750915"/>
                  </a:cubicBezTo>
                  <a:cubicBezTo>
                    <a:pt x="674657" y="768716"/>
                    <a:pt x="673236" y="781996"/>
                    <a:pt x="671860" y="795840"/>
                  </a:cubicBezTo>
                  <a:cubicBezTo>
                    <a:pt x="657743" y="885692"/>
                    <a:pt x="645001" y="979781"/>
                    <a:pt x="630173" y="1060591"/>
                  </a:cubicBezTo>
                  <a:cubicBezTo>
                    <a:pt x="613969" y="1146204"/>
                    <a:pt x="608331" y="1280980"/>
                    <a:pt x="592038" y="1366028"/>
                  </a:cubicBezTo>
                  <a:cubicBezTo>
                    <a:pt x="575834" y="1447120"/>
                    <a:pt x="561716" y="1550534"/>
                    <a:pt x="546889" y="1644623"/>
                  </a:cubicBezTo>
                  <a:cubicBezTo>
                    <a:pt x="531350" y="1748037"/>
                    <a:pt x="514392" y="1846929"/>
                    <a:pt x="499608" y="1954864"/>
                  </a:cubicBezTo>
                  <a:cubicBezTo>
                    <a:pt x="485490" y="2053757"/>
                    <a:pt x="466401" y="2107441"/>
                    <a:pt x="452283" y="2197292"/>
                  </a:cubicBezTo>
                  <a:cubicBezTo>
                    <a:pt x="402872" y="2503012"/>
                    <a:pt x="354215" y="2817492"/>
                    <a:pt x="305469" y="3127167"/>
                  </a:cubicBezTo>
                  <a:lnTo>
                    <a:pt x="305469" y="3172092"/>
                  </a:lnTo>
                  <a:cubicBezTo>
                    <a:pt x="287845" y="3338515"/>
                    <a:pt x="259609" y="3423563"/>
                    <a:pt x="246913" y="3608068"/>
                  </a:cubicBezTo>
                  <a:cubicBezTo>
                    <a:pt x="242695" y="3684357"/>
                    <a:pt x="229243" y="3720241"/>
                    <a:pt x="222895" y="3801051"/>
                  </a:cubicBezTo>
                  <a:cubicBezTo>
                    <a:pt x="217257" y="3886663"/>
                    <a:pt x="203805" y="3944869"/>
                    <a:pt x="193283" y="4012398"/>
                  </a:cubicBezTo>
                  <a:cubicBezTo>
                    <a:pt x="191863" y="4025678"/>
                    <a:pt x="188311" y="4043762"/>
                    <a:pt x="188311" y="4057325"/>
                  </a:cubicBezTo>
                  <a:cubicBezTo>
                    <a:pt x="189688" y="4147176"/>
                    <a:pt x="170687" y="4160456"/>
                    <a:pt x="170687" y="4237026"/>
                  </a:cubicBezTo>
                  <a:cubicBezTo>
                    <a:pt x="169932" y="4326877"/>
                    <a:pt x="152307" y="4335919"/>
                    <a:pt x="151597" y="4420967"/>
                  </a:cubicBezTo>
                  <a:cubicBezTo>
                    <a:pt x="151597" y="4501776"/>
                    <a:pt x="136059" y="4519860"/>
                    <a:pt x="132551" y="4600669"/>
                  </a:cubicBezTo>
                  <a:cubicBezTo>
                    <a:pt x="129755" y="4663678"/>
                    <a:pt x="118434" y="4713124"/>
                    <a:pt x="110665" y="4771330"/>
                  </a:cubicBezTo>
                  <a:cubicBezTo>
                    <a:pt x="104982" y="4812017"/>
                    <a:pt x="106403" y="4879264"/>
                    <a:pt x="97923" y="4910910"/>
                  </a:cubicBezTo>
                  <a:cubicBezTo>
                    <a:pt x="96547" y="4915148"/>
                    <a:pt x="97923" y="4946794"/>
                    <a:pt x="97923" y="4995958"/>
                  </a:cubicBezTo>
                  <a:cubicBezTo>
                    <a:pt x="90199" y="5036645"/>
                    <a:pt x="80343" y="5094850"/>
                    <a:pt x="70443" y="5148818"/>
                  </a:cubicBezTo>
                  <a:cubicBezTo>
                    <a:pt x="69022" y="5216347"/>
                    <a:pt x="75371" y="5288115"/>
                    <a:pt x="65471" y="5342082"/>
                  </a:cubicBezTo>
                  <a:lnTo>
                    <a:pt x="56991" y="5342082"/>
                  </a:lnTo>
                  <a:cubicBezTo>
                    <a:pt x="45715" y="5445213"/>
                    <a:pt x="43629" y="5584794"/>
                    <a:pt x="25959" y="5652041"/>
                  </a:cubicBezTo>
                  <a:lnTo>
                    <a:pt x="25959" y="6002404"/>
                  </a:lnTo>
                  <a:cubicBezTo>
                    <a:pt x="31597" y="6065130"/>
                    <a:pt x="41453" y="6083213"/>
                    <a:pt x="51353" y="6105817"/>
                  </a:cubicBezTo>
                  <a:lnTo>
                    <a:pt x="51353" y="6298799"/>
                  </a:lnTo>
                  <a:cubicBezTo>
                    <a:pt x="35149" y="6361808"/>
                    <a:pt x="33728" y="6487543"/>
                    <a:pt x="19611" y="6564115"/>
                  </a:cubicBezTo>
                  <a:cubicBezTo>
                    <a:pt x="12552" y="6599999"/>
                    <a:pt x="11842" y="6676287"/>
                    <a:pt x="6914" y="6730254"/>
                  </a:cubicBezTo>
                  <a:close/>
                </a:path>
              </a:pathLst>
            </a:custGeom>
            <a:solidFill>
              <a:srgbClr val="33703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2" name="Google Shape;222;p11"/>
            <p:cNvSpPr/>
            <p:nvPr/>
          </p:nvSpPr>
          <p:spPr>
            <a:xfrm rot="-560680">
              <a:off x="-447082" y="-66061"/>
              <a:ext cx="2264891" cy="6854442"/>
            </a:xfrm>
            <a:custGeom>
              <a:avLst/>
              <a:gdLst/>
              <a:ahLst/>
              <a:cxnLst/>
              <a:rect l="l" t="t" r="r" b="b"/>
              <a:pathLst>
                <a:path w="2263124" h="6849093" extrusionOk="0">
                  <a:moveTo>
                    <a:pt x="1806867" y="2228014"/>
                  </a:moveTo>
                  <a:cubicBezTo>
                    <a:pt x="1798195" y="2254403"/>
                    <a:pt x="1791587" y="2273771"/>
                    <a:pt x="1781446" y="2304519"/>
                  </a:cubicBezTo>
                  <a:cubicBezTo>
                    <a:pt x="1789843" y="2316140"/>
                    <a:pt x="1794386" y="2321224"/>
                    <a:pt x="1795395" y="2321224"/>
                  </a:cubicBezTo>
                  <a:cubicBezTo>
                    <a:pt x="1795717" y="2321225"/>
                    <a:pt x="1795671" y="2320740"/>
                    <a:pt x="1795350" y="2319772"/>
                  </a:cubicBezTo>
                  <a:cubicBezTo>
                    <a:pt x="1804802" y="2292656"/>
                    <a:pt x="1810630" y="2273530"/>
                    <a:pt x="1820863" y="2242782"/>
                  </a:cubicBezTo>
                  <a:cubicBezTo>
                    <a:pt x="1812144" y="2233582"/>
                    <a:pt x="1807602" y="2229224"/>
                    <a:pt x="1806867" y="2228014"/>
                  </a:cubicBezTo>
                  <a:close/>
                  <a:moveTo>
                    <a:pt x="1750793" y="123704"/>
                  </a:moveTo>
                  <a:lnTo>
                    <a:pt x="1750793" y="195049"/>
                  </a:lnTo>
                  <a:cubicBezTo>
                    <a:pt x="1755932" y="198680"/>
                    <a:pt x="1760337" y="202554"/>
                    <a:pt x="1764697" y="206428"/>
                  </a:cubicBezTo>
                  <a:cubicBezTo>
                    <a:pt x="1765775" y="190933"/>
                    <a:pt x="1766865" y="176528"/>
                    <a:pt x="1767955" y="161184"/>
                  </a:cubicBezTo>
                  <a:lnTo>
                    <a:pt x="1770150" y="126902"/>
                  </a:lnTo>
                  <a:lnTo>
                    <a:pt x="1815300" y="134360"/>
                  </a:lnTo>
                  <a:lnTo>
                    <a:pt x="1810099" y="162909"/>
                  </a:lnTo>
                  <a:cubicBezTo>
                    <a:pt x="1807834" y="173622"/>
                    <a:pt x="1805376" y="183246"/>
                    <a:pt x="1802646" y="190933"/>
                  </a:cubicBezTo>
                  <a:cubicBezTo>
                    <a:pt x="1793881" y="218049"/>
                    <a:pt x="1784382" y="233544"/>
                    <a:pt x="1777820" y="287291"/>
                  </a:cubicBezTo>
                  <a:cubicBezTo>
                    <a:pt x="1777820" y="298670"/>
                    <a:pt x="1778509" y="314165"/>
                    <a:pt x="1778509" y="329418"/>
                  </a:cubicBezTo>
                  <a:cubicBezTo>
                    <a:pt x="1780436" y="333049"/>
                    <a:pt x="1783419" y="342007"/>
                    <a:pt x="1784199" y="342007"/>
                  </a:cubicBezTo>
                  <a:cubicBezTo>
                    <a:pt x="1784291" y="342007"/>
                    <a:pt x="1784382" y="341765"/>
                    <a:pt x="1784382" y="341281"/>
                  </a:cubicBezTo>
                  <a:cubicBezTo>
                    <a:pt x="1790944" y="290923"/>
                    <a:pt x="1804114" y="306418"/>
                    <a:pt x="1811410" y="256544"/>
                  </a:cubicBezTo>
                  <a:cubicBezTo>
                    <a:pt x="1817238" y="218049"/>
                    <a:pt x="1827425" y="190933"/>
                    <a:pt x="1836878" y="167933"/>
                  </a:cubicBezTo>
                  <a:lnTo>
                    <a:pt x="1850772" y="140220"/>
                  </a:lnTo>
                  <a:lnTo>
                    <a:pt x="1904088" y="149028"/>
                  </a:lnTo>
                  <a:lnTo>
                    <a:pt x="1901342" y="170233"/>
                  </a:lnTo>
                  <a:cubicBezTo>
                    <a:pt x="1900430" y="180886"/>
                    <a:pt x="1899836" y="192930"/>
                    <a:pt x="1899653" y="206428"/>
                  </a:cubicBezTo>
                  <a:cubicBezTo>
                    <a:pt x="1899102" y="205943"/>
                    <a:pt x="1898597" y="205943"/>
                    <a:pt x="1898092" y="205943"/>
                  </a:cubicBezTo>
                  <a:cubicBezTo>
                    <a:pt x="1892540" y="205943"/>
                    <a:pt x="1889511" y="224586"/>
                    <a:pt x="1890200" y="256544"/>
                  </a:cubicBezTo>
                  <a:cubicBezTo>
                    <a:pt x="1889557" y="257270"/>
                    <a:pt x="1888869" y="257754"/>
                    <a:pt x="1888181" y="257754"/>
                  </a:cubicBezTo>
                  <a:cubicBezTo>
                    <a:pt x="1885427" y="257754"/>
                    <a:pt x="1882307" y="252428"/>
                    <a:pt x="1879462" y="252428"/>
                  </a:cubicBezTo>
                  <a:cubicBezTo>
                    <a:pt x="1876387" y="252428"/>
                    <a:pt x="1873634" y="258481"/>
                    <a:pt x="1871936" y="283417"/>
                  </a:cubicBezTo>
                  <a:cubicBezTo>
                    <a:pt x="1876938" y="292617"/>
                    <a:pt x="1879967" y="298186"/>
                    <a:pt x="1882123" y="298186"/>
                  </a:cubicBezTo>
                  <a:cubicBezTo>
                    <a:pt x="1885290" y="298186"/>
                    <a:pt x="1886712" y="286323"/>
                    <a:pt x="1890200" y="256544"/>
                  </a:cubicBezTo>
                  <a:cubicBezTo>
                    <a:pt x="1896716" y="256544"/>
                    <a:pt x="1899652" y="241049"/>
                    <a:pt x="1899653" y="206428"/>
                  </a:cubicBezTo>
                  <a:lnTo>
                    <a:pt x="1912776" y="206428"/>
                  </a:lnTo>
                  <a:cubicBezTo>
                    <a:pt x="1916447" y="190933"/>
                    <a:pt x="1919384" y="171807"/>
                    <a:pt x="1923009" y="156554"/>
                  </a:cubicBezTo>
                  <a:cubicBezTo>
                    <a:pt x="1928837" y="187301"/>
                    <a:pt x="1933977" y="218049"/>
                    <a:pt x="1939804" y="244923"/>
                  </a:cubicBezTo>
                  <a:cubicBezTo>
                    <a:pt x="1941961" y="241049"/>
                    <a:pt x="1944164" y="237175"/>
                    <a:pt x="1945632" y="229428"/>
                  </a:cubicBezTo>
                  <a:lnTo>
                    <a:pt x="1959147" y="158123"/>
                  </a:lnTo>
                  <a:lnTo>
                    <a:pt x="2004604" y="165632"/>
                  </a:lnTo>
                  <a:lnTo>
                    <a:pt x="2001437" y="181154"/>
                  </a:lnTo>
                  <a:cubicBezTo>
                    <a:pt x="1998033" y="199392"/>
                    <a:pt x="1994893" y="218896"/>
                    <a:pt x="1992346" y="241049"/>
                  </a:cubicBezTo>
                  <a:lnTo>
                    <a:pt x="1994503" y="287291"/>
                  </a:lnTo>
                  <a:cubicBezTo>
                    <a:pt x="1997164" y="301091"/>
                    <a:pt x="2000009" y="304481"/>
                    <a:pt x="2002900" y="304481"/>
                  </a:cubicBezTo>
                  <a:cubicBezTo>
                    <a:pt x="2005516" y="304481"/>
                    <a:pt x="2008131" y="301818"/>
                    <a:pt x="2010563" y="301818"/>
                  </a:cubicBezTo>
                  <a:cubicBezTo>
                    <a:pt x="2012124" y="301818"/>
                    <a:pt x="2013592" y="302786"/>
                    <a:pt x="2014923" y="306418"/>
                  </a:cubicBezTo>
                  <a:cubicBezTo>
                    <a:pt x="2019282" y="287291"/>
                    <a:pt x="2022953" y="272038"/>
                    <a:pt x="2025890" y="256544"/>
                  </a:cubicBezTo>
                  <a:lnTo>
                    <a:pt x="2049247" y="256544"/>
                  </a:lnTo>
                  <a:lnTo>
                    <a:pt x="2079590" y="178019"/>
                  </a:lnTo>
                  <a:lnTo>
                    <a:pt x="2103554" y="181978"/>
                  </a:lnTo>
                  <a:lnTo>
                    <a:pt x="2104404" y="199165"/>
                  </a:lnTo>
                  <a:cubicBezTo>
                    <a:pt x="2105046" y="212178"/>
                    <a:pt x="2105413" y="223738"/>
                    <a:pt x="2104679" y="229428"/>
                  </a:cubicBezTo>
                  <a:cubicBezTo>
                    <a:pt x="2098117" y="264291"/>
                    <a:pt x="2090821" y="290923"/>
                    <a:pt x="2086416" y="310533"/>
                  </a:cubicBezTo>
                  <a:cubicBezTo>
                    <a:pt x="2085728" y="402776"/>
                    <a:pt x="2093712" y="433523"/>
                    <a:pt x="2104679" y="452650"/>
                  </a:cubicBezTo>
                  <a:lnTo>
                    <a:pt x="2104679" y="526008"/>
                  </a:lnTo>
                  <a:lnTo>
                    <a:pt x="2095180" y="575882"/>
                  </a:lnTo>
                  <a:lnTo>
                    <a:pt x="2095180" y="625998"/>
                  </a:lnTo>
                  <a:lnTo>
                    <a:pt x="2075495" y="729861"/>
                  </a:lnTo>
                  <a:cubicBezTo>
                    <a:pt x="2069667" y="764724"/>
                    <a:pt x="2060902" y="799103"/>
                    <a:pt x="2058700" y="837598"/>
                  </a:cubicBezTo>
                  <a:cubicBezTo>
                    <a:pt x="2055763" y="903209"/>
                    <a:pt x="2045576" y="926209"/>
                    <a:pt x="2039014" y="968578"/>
                  </a:cubicBezTo>
                  <a:cubicBezTo>
                    <a:pt x="2033186" y="1007073"/>
                    <a:pt x="2027358" y="1045567"/>
                    <a:pt x="2019282" y="1068568"/>
                  </a:cubicBezTo>
                  <a:cubicBezTo>
                    <a:pt x="2009829" y="1099315"/>
                    <a:pt x="2014923" y="1161052"/>
                    <a:pt x="2006938" y="1191800"/>
                  </a:cubicBezTo>
                  <a:lnTo>
                    <a:pt x="1997393" y="1191800"/>
                  </a:lnTo>
                  <a:cubicBezTo>
                    <a:pt x="1990097" y="1265158"/>
                    <a:pt x="1982113" y="1334400"/>
                    <a:pt x="1981379" y="1434390"/>
                  </a:cubicBezTo>
                  <a:cubicBezTo>
                    <a:pt x="1974083" y="1434390"/>
                    <a:pt x="1966786" y="1438021"/>
                    <a:pt x="1959490" y="1438021"/>
                  </a:cubicBezTo>
                  <a:cubicBezTo>
                    <a:pt x="1947789" y="1488380"/>
                    <a:pt x="1943429" y="1565369"/>
                    <a:pt x="1936868" y="1634612"/>
                  </a:cubicBezTo>
                  <a:lnTo>
                    <a:pt x="1922275" y="1634612"/>
                  </a:lnTo>
                  <a:lnTo>
                    <a:pt x="1861703" y="1953950"/>
                  </a:lnTo>
                  <a:cubicBezTo>
                    <a:pt x="1861015" y="1958065"/>
                    <a:pt x="1861703" y="1969444"/>
                    <a:pt x="1861703" y="1976950"/>
                  </a:cubicBezTo>
                  <a:cubicBezTo>
                    <a:pt x="1851470" y="1992444"/>
                    <a:pt x="1845643" y="2023192"/>
                    <a:pt x="1844954" y="2073550"/>
                  </a:cubicBezTo>
                  <a:cubicBezTo>
                    <a:pt x="1838346" y="2081055"/>
                    <a:pt x="1831050" y="2077181"/>
                    <a:pt x="1837658" y="2123424"/>
                  </a:cubicBezTo>
                  <a:cubicBezTo>
                    <a:pt x="1839815" y="2107929"/>
                    <a:pt x="1842018" y="2096550"/>
                    <a:pt x="1844954" y="2073550"/>
                  </a:cubicBezTo>
                  <a:cubicBezTo>
                    <a:pt x="1848579" y="2077182"/>
                    <a:pt x="1854407" y="2077181"/>
                    <a:pt x="1861703" y="2077182"/>
                  </a:cubicBezTo>
                  <a:lnTo>
                    <a:pt x="1861703" y="1976950"/>
                  </a:lnTo>
                  <a:lnTo>
                    <a:pt x="1876296" y="1976950"/>
                  </a:lnTo>
                  <a:lnTo>
                    <a:pt x="1936867" y="1657612"/>
                  </a:lnTo>
                  <a:cubicBezTo>
                    <a:pt x="1937602" y="1653738"/>
                    <a:pt x="1936867" y="1642359"/>
                    <a:pt x="1936868" y="1634612"/>
                  </a:cubicBezTo>
                  <a:lnTo>
                    <a:pt x="1952194" y="1634612"/>
                  </a:lnTo>
                  <a:cubicBezTo>
                    <a:pt x="1960224" y="1588369"/>
                    <a:pt x="1968989" y="1534622"/>
                    <a:pt x="1977754" y="1484264"/>
                  </a:cubicBezTo>
                  <a:lnTo>
                    <a:pt x="1989409" y="1484264"/>
                  </a:lnTo>
                  <a:cubicBezTo>
                    <a:pt x="1990877" y="1457632"/>
                    <a:pt x="1993034" y="1430516"/>
                    <a:pt x="1994503" y="1403642"/>
                  </a:cubicBezTo>
                  <a:cubicBezTo>
                    <a:pt x="1997210" y="1390811"/>
                    <a:pt x="2000193" y="1387421"/>
                    <a:pt x="2003038" y="1387422"/>
                  </a:cubicBezTo>
                  <a:cubicBezTo>
                    <a:pt x="2006433" y="1387421"/>
                    <a:pt x="2009554" y="1392506"/>
                    <a:pt x="2011756" y="1392506"/>
                  </a:cubicBezTo>
                  <a:cubicBezTo>
                    <a:pt x="2012124" y="1392506"/>
                    <a:pt x="2012445" y="1392263"/>
                    <a:pt x="2012766" y="1392021"/>
                  </a:cubicBezTo>
                  <a:cubicBezTo>
                    <a:pt x="2020062" y="1368779"/>
                    <a:pt x="2025156" y="1353527"/>
                    <a:pt x="2030249" y="1338032"/>
                  </a:cubicBezTo>
                  <a:lnTo>
                    <a:pt x="2030249" y="1422769"/>
                  </a:lnTo>
                  <a:cubicBezTo>
                    <a:pt x="2024421" y="1445769"/>
                    <a:pt x="2017125" y="1480632"/>
                    <a:pt x="2011297" y="1507506"/>
                  </a:cubicBezTo>
                  <a:cubicBezTo>
                    <a:pt x="2012766" y="1553506"/>
                    <a:pt x="2009095" y="1596117"/>
                    <a:pt x="2015657" y="1638243"/>
                  </a:cubicBezTo>
                  <a:cubicBezTo>
                    <a:pt x="2029515" y="1561253"/>
                    <a:pt x="2041951" y="1476516"/>
                    <a:pt x="2057231" y="1422769"/>
                  </a:cubicBezTo>
                  <a:cubicBezTo>
                    <a:pt x="2073292" y="1365148"/>
                    <a:pt x="2088618" y="1307284"/>
                    <a:pt x="2099540" y="1238042"/>
                  </a:cubicBezTo>
                  <a:cubicBezTo>
                    <a:pt x="2105413" y="1241916"/>
                    <a:pt x="2108304" y="1245547"/>
                    <a:pt x="2111241" y="1249663"/>
                  </a:cubicBezTo>
                  <a:cubicBezTo>
                    <a:pt x="2117069" y="1272663"/>
                    <a:pt x="2112710" y="1307284"/>
                    <a:pt x="2114132" y="1338032"/>
                  </a:cubicBezTo>
                  <a:cubicBezTo>
                    <a:pt x="2107616" y="1338032"/>
                    <a:pt x="2104679" y="1353526"/>
                    <a:pt x="2104679" y="1388148"/>
                  </a:cubicBezTo>
                  <a:cubicBezTo>
                    <a:pt x="2098117" y="1388148"/>
                    <a:pt x="2095180" y="1403643"/>
                    <a:pt x="2096649" y="1434390"/>
                  </a:cubicBezTo>
                  <a:cubicBezTo>
                    <a:pt x="2090821" y="1442137"/>
                    <a:pt x="2083525" y="1438021"/>
                    <a:pt x="2090087" y="1480632"/>
                  </a:cubicBezTo>
                  <a:cubicBezTo>
                    <a:pt x="2092244" y="1469011"/>
                    <a:pt x="2094492" y="1453516"/>
                    <a:pt x="2096649" y="1434390"/>
                  </a:cubicBezTo>
                  <a:cubicBezTo>
                    <a:pt x="2098117" y="1438021"/>
                    <a:pt x="2101788" y="1438021"/>
                    <a:pt x="2104679" y="1438021"/>
                  </a:cubicBezTo>
                  <a:cubicBezTo>
                    <a:pt x="2108304" y="1469011"/>
                    <a:pt x="2111241" y="1499759"/>
                    <a:pt x="2114132" y="1526874"/>
                  </a:cubicBezTo>
                  <a:cubicBezTo>
                    <a:pt x="2112710" y="1603864"/>
                    <a:pt x="2096649" y="1615243"/>
                    <a:pt x="2096649" y="1680854"/>
                  </a:cubicBezTo>
                  <a:cubicBezTo>
                    <a:pt x="2090821" y="1688601"/>
                    <a:pt x="2083525" y="1684486"/>
                    <a:pt x="2090087" y="1727096"/>
                  </a:cubicBezTo>
                  <a:cubicBezTo>
                    <a:pt x="2092244" y="1715233"/>
                    <a:pt x="2094492" y="1699980"/>
                    <a:pt x="2096649" y="1680854"/>
                  </a:cubicBezTo>
                  <a:cubicBezTo>
                    <a:pt x="2100320" y="1684486"/>
                    <a:pt x="2104679" y="1684486"/>
                    <a:pt x="2110507" y="1684486"/>
                  </a:cubicBezTo>
                  <a:cubicBezTo>
                    <a:pt x="2134598" y="1553506"/>
                    <a:pt x="2159377" y="1419137"/>
                    <a:pt x="2183468" y="1288158"/>
                  </a:cubicBezTo>
                  <a:cubicBezTo>
                    <a:pt x="2184570" y="1288158"/>
                    <a:pt x="2185625" y="1288158"/>
                    <a:pt x="2186635" y="1288158"/>
                  </a:cubicBezTo>
                  <a:cubicBezTo>
                    <a:pt x="2192600" y="1288158"/>
                    <a:pt x="2197418" y="1291063"/>
                    <a:pt x="2198061" y="1330284"/>
                  </a:cubicBezTo>
                  <a:cubicBezTo>
                    <a:pt x="2198795" y="1361032"/>
                    <a:pt x="2198061" y="1392021"/>
                    <a:pt x="2198061" y="1426642"/>
                  </a:cubicBezTo>
                  <a:cubicBezTo>
                    <a:pt x="2192233" y="1430516"/>
                    <a:pt x="2187873" y="1438021"/>
                    <a:pt x="2183468" y="1442138"/>
                  </a:cubicBezTo>
                  <a:cubicBezTo>
                    <a:pt x="2179109" y="1484264"/>
                    <a:pt x="2175438" y="1526874"/>
                    <a:pt x="2170344" y="1580622"/>
                  </a:cubicBezTo>
                  <a:lnTo>
                    <a:pt x="2203154" y="1580622"/>
                  </a:lnTo>
                  <a:cubicBezTo>
                    <a:pt x="2206825" y="1565369"/>
                    <a:pt x="2209762" y="1549875"/>
                    <a:pt x="2212653" y="1538253"/>
                  </a:cubicBezTo>
                  <a:cubicBezTo>
                    <a:pt x="2219215" y="1569001"/>
                    <a:pt x="2215590" y="1603864"/>
                    <a:pt x="2217747" y="1630496"/>
                  </a:cubicBezTo>
                  <a:cubicBezTo>
                    <a:pt x="2211919" y="1638243"/>
                    <a:pt x="2204623" y="1634612"/>
                    <a:pt x="2211230" y="1676738"/>
                  </a:cubicBezTo>
                  <a:cubicBezTo>
                    <a:pt x="2213387" y="1665359"/>
                    <a:pt x="2215590" y="1650106"/>
                    <a:pt x="2217747" y="1630496"/>
                  </a:cubicBezTo>
                  <a:cubicBezTo>
                    <a:pt x="2228714" y="1626864"/>
                    <a:pt x="2231650" y="1557622"/>
                    <a:pt x="2241838" y="1534622"/>
                  </a:cubicBezTo>
                  <a:cubicBezTo>
                    <a:pt x="2242939" y="1535832"/>
                    <a:pt x="2244086" y="1536317"/>
                    <a:pt x="2245279" y="1536317"/>
                  </a:cubicBezTo>
                  <a:cubicBezTo>
                    <a:pt x="2247665" y="1536317"/>
                    <a:pt x="2250189" y="1534622"/>
                    <a:pt x="2252667" y="1534622"/>
                  </a:cubicBezTo>
                  <a:cubicBezTo>
                    <a:pt x="2256430" y="1534622"/>
                    <a:pt x="2260055" y="1538496"/>
                    <a:pt x="2262992" y="1557622"/>
                  </a:cubicBezTo>
                  <a:cubicBezTo>
                    <a:pt x="2257164" y="1592001"/>
                    <a:pt x="2250602" y="1626864"/>
                    <a:pt x="2244775" y="1661485"/>
                  </a:cubicBezTo>
                  <a:cubicBezTo>
                    <a:pt x="2244774" y="1694412"/>
                    <a:pt x="2244086" y="1730970"/>
                    <a:pt x="2252208" y="1730970"/>
                  </a:cubicBezTo>
                  <a:cubicBezTo>
                    <a:pt x="2252621" y="1730970"/>
                    <a:pt x="2253080" y="1730970"/>
                    <a:pt x="2253539" y="1730728"/>
                  </a:cubicBezTo>
                  <a:cubicBezTo>
                    <a:pt x="2261523" y="1730728"/>
                    <a:pt x="2263726" y="1753728"/>
                    <a:pt x="2262992" y="1807718"/>
                  </a:cubicBezTo>
                  <a:lnTo>
                    <a:pt x="2169610" y="2300403"/>
                  </a:lnTo>
                  <a:cubicBezTo>
                    <a:pt x="2141848" y="2358267"/>
                    <a:pt x="2125099" y="2489246"/>
                    <a:pt x="2105413" y="2596983"/>
                  </a:cubicBezTo>
                  <a:cubicBezTo>
                    <a:pt x="2093024" y="2662352"/>
                    <a:pt x="2076229" y="2677605"/>
                    <a:pt x="2065307" y="2750963"/>
                  </a:cubicBezTo>
                  <a:cubicBezTo>
                    <a:pt x="2055074" y="2820205"/>
                    <a:pt x="2043419" y="2893321"/>
                    <a:pt x="2028826" y="2935689"/>
                  </a:cubicBezTo>
                  <a:cubicBezTo>
                    <a:pt x="2014234" y="2981932"/>
                    <a:pt x="2004001" y="3054806"/>
                    <a:pt x="1990097" y="3093301"/>
                  </a:cubicBezTo>
                  <a:cubicBezTo>
                    <a:pt x="1975505" y="3131796"/>
                    <a:pt x="1967520" y="3201038"/>
                    <a:pt x="1954397" y="3232028"/>
                  </a:cubicBezTo>
                  <a:cubicBezTo>
                    <a:pt x="1937602" y="3278028"/>
                    <a:pt x="1925212" y="3343639"/>
                    <a:pt x="1912776" y="3409007"/>
                  </a:cubicBezTo>
                  <a:cubicBezTo>
                    <a:pt x="1910620" y="3420628"/>
                    <a:pt x="1908417" y="3443870"/>
                    <a:pt x="1906260" y="3443870"/>
                  </a:cubicBezTo>
                  <a:cubicBezTo>
                    <a:pt x="1890199" y="3443871"/>
                    <a:pt x="1885060" y="3532239"/>
                    <a:pt x="1872670" y="3555239"/>
                  </a:cubicBezTo>
                  <a:cubicBezTo>
                    <a:pt x="1869779" y="3559355"/>
                    <a:pt x="1866063" y="3559355"/>
                    <a:pt x="1864640" y="3567103"/>
                  </a:cubicBezTo>
                  <a:cubicBezTo>
                    <a:pt x="1856610" y="3616977"/>
                    <a:pt x="1847111" y="3655471"/>
                    <a:pt x="1835455" y="3670724"/>
                  </a:cubicBezTo>
                  <a:cubicBezTo>
                    <a:pt x="1817926" y="3786208"/>
                    <a:pt x="1789522" y="3828819"/>
                    <a:pt x="1772681" y="3947935"/>
                  </a:cubicBezTo>
                  <a:cubicBezTo>
                    <a:pt x="1772451" y="3950599"/>
                    <a:pt x="1771717" y="3951325"/>
                    <a:pt x="1770754" y="3951325"/>
                  </a:cubicBezTo>
                  <a:cubicBezTo>
                    <a:pt x="1768826" y="3951325"/>
                    <a:pt x="1765889" y="3947936"/>
                    <a:pt x="1763916" y="3947935"/>
                  </a:cubicBezTo>
                  <a:cubicBezTo>
                    <a:pt x="1751573" y="4013546"/>
                    <a:pt x="1742028" y="4098284"/>
                    <a:pt x="1727436" y="4132662"/>
                  </a:cubicBezTo>
                  <a:cubicBezTo>
                    <a:pt x="1712155" y="4171157"/>
                    <a:pt x="1704859" y="4240399"/>
                    <a:pt x="1691735" y="4275263"/>
                  </a:cubicBezTo>
                  <a:cubicBezTo>
                    <a:pt x="1680768" y="4306011"/>
                    <a:pt x="1672003" y="4340631"/>
                    <a:pt x="1662550" y="4383000"/>
                  </a:cubicBezTo>
                  <a:cubicBezTo>
                    <a:pt x="1653051" y="4429243"/>
                    <a:pt x="1640662" y="4459990"/>
                    <a:pt x="1630429" y="4506232"/>
                  </a:cubicBezTo>
                  <a:cubicBezTo>
                    <a:pt x="1620930" y="4548359"/>
                    <a:pt x="1613634" y="4602348"/>
                    <a:pt x="1604181" y="4640843"/>
                  </a:cubicBezTo>
                  <a:cubicBezTo>
                    <a:pt x="1596151" y="4675706"/>
                    <a:pt x="1586652" y="4698707"/>
                    <a:pt x="1578622" y="4729454"/>
                  </a:cubicBezTo>
                  <a:cubicBezTo>
                    <a:pt x="1569169" y="4771822"/>
                    <a:pt x="1561092" y="4821939"/>
                    <a:pt x="1552374" y="4868181"/>
                  </a:cubicBezTo>
                  <a:cubicBezTo>
                    <a:pt x="1544343" y="4910307"/>
                    <a:pt x="1537781" y="4960423"/>
                    <a:pt x="1529017" y="4987297"/>
                  </a:cubicBezTo>
                  <a:cubicBezTo>
                    <a:pt x="1488911" y="5114402"/>
                    <a:pt x="1461195" y="5314624"/>
                    <a:pt x="1427605" y="5479983"/>
                  </a:cubicBezTo>
                  <a:cubicBezTo>
                    <a:pt x="1421043" y="5514846"/>
                    <a:pt x="1411590" y="5514846"/>
                    <a:pt x="1404982" y="5545593"/>
                  </a:cubicBezTo>
                  <a:cubicBezTo>
                    <a:pt x="1396998" y="5587720"/>
                    <a:pt x="1389702" y="5626215"/>
                    <a:pt x="1382405" y="5668826"/>
                  </a:cubicBezTo>
                  <a:cubicBezTo>
                    <a:pt x="1375797" y="5703204"/>
                    <a:pt x="1369236" y="5738068"/>
                    <a:pt x="1363408" y="5772447"/>
                  </a:cubicBezTo>
                  <a:lnTo>
                    <a:pt x="1352441" y="5772447"/>
                  </a:lnTo>
                  <a:cubicBezTo>
                    <a:pt x="1334223" y="5869047"/>
                    <a:pt x="1315272" y="5969037"/>
                    <a:pt x="1297008" y="6069027"/>
                  </a:cubicBezTo>
                  <a:lnTo>
                    <a:pt x="1287555" y="6069027"/>
                  </a:lnTo>
                  <a:cubicBezTo>
                    <a:pt x="1267089" y="6177006"/>
                    <a:pt x="1245935" y="6288375"/>
                    <a:pt x="1224781" y="6396113"/>
                  </a:cubicBezTo>
                  <a:cubicBezTo>
                    <a:pt x="1218219" y="6430976"/>
                    <a:pt x="1210923" y="6461723"/>
                    <a:pt x="1205829" y="6503850"/>
                  </a:cubicBezTo>
                  <a:cubicBezTo>
                    <a:pt x="1199221" y="6554208"/>
                    <a:pt x="1186832" y="6550092"/>
                    <a:pt x="1179536" y="6588587"/>
                  </a:cubicBezTo>
                  <a:cubicBezTo>
                    <a:pt x="1173754" y="6615703"/>
                    <a:pt x="1169669" y="6660734"/>
                    <a:pt x="1160859" y="6660734"/>
                  </a:cubicBezTo>
                  <a:cubicBezTo>
                    <a:pt x="1159620" y="6660734"/>
                    <a:pt x="1158335" y="6659766"/>
                    <a:pt x="1156913" y="6657829"/>
                  </a:cubicBezTo>
                  <a:cubicBezTo>
                    <a:pt x="1152553" y="6708187"/>
                    <a:pt x="1141632" y="6700440"/>
                    <a:pt x="1134336" y="6727314"/>
                  </a:cubicBezTo>
                  <a:cubicBezTo>
                    <a:pt x="1133556" y="6731187"/>
                    <a:pt x="1132087" y="6738935"/>
                    <a:pt x="1129931" y="6754187"/>
                  </a:cubicBezTo>
                  <a:lnTo>
                    <a:pt x="1083263" y="6754187"/>
                  </a:lnTo>
                  <a:cubicBezTo>
                    <a:pt x="1078858" y="6773314"/>
                    <a:pt x="1076655" y="6785177"/>
                    <a:pt x="1073718" y="6800430"/>
                  </a:cubicBezTo>
                  <a:lnTo>
                    <a:pt x="1054767" y="6800430"/>
                  </a:lnTo>
                  <a:cubicBezTo>
                    <a:pt x="1043662" y="6809145"/>
                    <a:pt x="1039761" y="6849093"/>
                    <a:pt x="1031456" y="6849093"/>
                  </a:cubicBezTo>
                  <a:cubicBezTo>
                    <a:pt x="1028840" y="6849093"/>
                    <a:pt x="1025811" y="6845219"/>
                    <a:pt x="1021957" y="6835051"/>
                  </a:cubicBezTo>
                  <a:cubicBezTo>
                    <a:pt x="1017597" y="6808177"/>
                    <a:pt x="1008833" y="6750314"/>
                    <a:pt x="1002225" y="6708187"/>
                  </a:cubicBezTo>
                  <a:lnTo>
                    <a:pt x="979648" y="6708187"/>
                  </a:lnTo>
                  <a:cubicBezTo>
                    <a:pt x="968681" y="6654197"/>
                    <a:pt x="977446" y="6619334"/>
                    <a:pt x="984008" y="6584955"/>
                  </a:cubicBezTo>
                  <a:lnTo>
                    <a:pt x="984008" y="6496344"/>
                  </a:lnTo>
                  <a:cubicBezTo>
                    <a:pt x="986944" y="6461723"/>
                    <a:pt x="994929" y="6453976"/>
                    <a:pt x="993461" y="6411607"/>
                  </a:cubicBezTo>
                  <a:cubicBezTo>
                    <a:pt x="1000068" y="6411607"/>
                    <a:pt x="1003005" y="6396112"/>
                    <a:pt x="1003005" y="6361734"/>
                  </a:cubicBezTo>
                  <a:cubicBezTo>
                    <a:pt x="1003510" y="6361976"/>
                    <a:pt x="1004060" y="6362218"/>
                    <a:pt x="1004519" y="6362217"/>
                  </a:cubicBezTo>
                  <a:cubicBezTo>
                    <a:pt x="1009980" y="6362217"/>
                    <a:pt x="1012458" y="6343333"/>
                    <a:pt x="1012458" y="6311375"/>
                  </a:cubicBezTo>
                  <a:cubicBezTo>
                    <a:pt x="1013009" y="6311860"/>
                    <a:pt x="1013559" y="6312102"/>
                    <a:pt x="1014110" y="6312101"/>
                  </a:cubicBezTo>
                  <a:cubicBezTo>
                    <a:pt x="1019525" y="6312101"/>
                    <a:pt x="1021957" y="6293460"/>
                    <a:pt x="1021957" y="6265375"/>
                  </a:cubicBezTo>
                  <a:cubicBezTo>
                    <a:pt x="1049673" y="6149891"/>
                    <a:pt x="1049673" y="6149891"/>
                    <a:pt x="1046002" y="6118901"/>
                  </a:cubicBezTo>
                  <a:cubicBezTo>
                    <a:pt x="1044121" y="6115512"/>
                    <a:pt x="1042469" y="6114058"/>
                    <a:pt x="1040908" y="6114059"/>
                  </a:cubicBezTo>
                  <a:cubicBezTo>
                    <a:pt x="1032236" y="6114059"/>
                    <a:pt x="1028152" y="6162722"/>
                    <a:pt x="1021957" y="6192259"/>
                  </a:cubicBezTo>
                  <a:lnTo>
                    <a:pt x="1021957" y="6265375"/>
                  </a:lnTo>
                  <a:cubicBezTo>
                    <a:pt x="1021406" y="6264891"/>
                    <a:pt x="1020901" y="6264891"/>
                    <a:pt x="1020397" y="6264891"/>
                  </a:cubicBezTo>
                  <a:cubicBezTo>
                    <a:pt x="1014890" y="6264891"/>
                    <a:pt x="1012458" y="6283291"/>
                    <a:pt x="1012458" y="6311375"/>
                  </a:cubicBezTo>
                  <a:cubicBezTo>
                    <a:pt x="1005896" y="6311375"/>
                    <a:pt x="1003005" y="6326870"/>
                    <a:pt x="1003005" y="6361734"/>
                  </a:cubicBezTo>
                  <a:cubicBezTo>
                    <a:pt x="996397" y="6361734"/>
                    <a:pt x="993460" y="6376986"/>
                    <a:pt x="993461" y="6411607"/>
                  </a:cubicBezTo>
                  <a:lnTo>
                    <a:pt x="979648" y="6411607"/>
                  </a:lnTo>
                  <a:cubicBezTo>
                    <a:pt x="978868" y="6400228"/>
                    <a:pt x="976711" y="6380859"/>
                    <a:pt x="977446" y="6376986"/>
                  </a:cubicBezTo>
                  <a:cubicBezTo>
                    <a:pt x="986944" y="6319122"/>
                    <a:pt x="987633" y="6226880"/>
                    <a:pt x="1003693" y="6195890"/>
                  </a:cubicBezTo>
                  <a:cubicBezTo>
                    <a:pt x="999334" y="6172890"/>
                    <a:pt x="996397" y="6153764"/>
                    <a:pt x="992038" y="6126648"/>
                  </a:cubicBezTo>
                  <a:cubicBezTo>
                    <a:pt x="994929" y="6095901"/>
                    <a:pt x="998600" y="6065154"/>
                    <a:pt x="1001537" y="6034406"/>
                  </a:cubicBezTo>
                  <a:cubicBezTo>
                    <a:pt x="1000757" y="6030532"/>
                    <a:pt x="999334" y="6018911"/>
                    <a:pt x="998600" y="6018911"/>
                  </a:cubicBezTo>
                  <a:lnTo>
                    <a:pt x="942387" y="6018911"/>
                  </a:lnTo>
                  <a:cubicBezTo>
                    <a:pt x="936560" y="5918921"/>
                    <a:pt x="936560" y="5918921"/>
                    <a:pt x="946104" y="5849437"/>
                  </a:cubicBezTo>
                  <a:cubicBezTo>
                    <a:pt x="944269" y="5822805"/>
                    <a:pt x="941011" y="5817963"/>
                    <a:pt x="936927" y="5817963"/>
                  </a:cubicBezTo>
                  <a:cubicBezTo>
                    <a:pt x="934632" y="5817963"/>
                    <a:pt x="932063" y="5819415"/>
                    <a:pt x="929355" y="5819416"/>
                  </a:cubicBezTo>
                  <a:cubicBezTo>
                    <a:pt x="927198" y="5819416"/>
                    <a:pt x="924996" y="5818447"/>
                    <a:pt x="922747" y="5815057"/>
                  </a:cubicBezTo>
                  <a:cubicBezTo>
                    <a:pt x="920499" y="5841932"/>
                    <a:pt x="916920" y="5880427"/>
                    <a:pt x="913203" y="5915048"/>
                  </a:cubicBezTo>
                  <a:lnTo>
                    <a:pt x="909624" y="5895679"/>
                  </a:lnTo>
                  <a:lnTo>
                    <a:pt x="909623" y="5949669"/>
                  </a:lnTo>
                  <a:cubicBezTo>
                    <a:pt x="905907" y="5957416"/>
                    <a:pt x="901547" y="5964921"/>
                    <a:pt x="897922" y="5972669"/>
                  </a:cubicBezTo>
                  <a:lnTo>
                    <a:pt x="833725" y="6311375"/>
                  </a:lnTo>
                  <a:lnTo>
                    <a:pt x="793573" y="6311375"/>
                  </a:lnTo>
                  <a:cubicBezTo>
                    <a:pt x="787011" y="6257628"/>
                    <a:pt x="771685" y="6272881"/>
                    <a:pt x="764389" y="6215501"/>
                  </a:cubicBezTo>
                  <a:cubicBezTo>
                    <a:pt x="752733" y="6303870"/>
                    <a:pt x="730110" y="6323239"/>
                    <a:pt x="718455" y="6411607"/>
                  </a:cubicBezTo>
                  <a:lnTo>
                    <a:pt x="708956" y="6361734"/>
                  </a:lnTo>
                  <a:lnTo>
                    <a:pt x="691427" y="6453976"/>
                  </a:lnTo>
                  <a:lnTo>
                    <a:pt x="668070" y="6453976"/>
                  </a:lnTo>
                  <a:cubicBezTo>
                    <a:pt x="658296" y="6472376"/>
                    <a:pt x="652606" y="6524186"/>
                    <a:pt x="643795" y="6524186"/>
                  </a:cubicBezTo>
                  <a:cubicBezTo>
                    <a:pt x="641455" y="6524186"/>
                    <a:pt x="638885" y="6520555"/>
                    <a:pt x="635995" y="6511597"/>
                  </a:cubicBezTo>
                  <a:cubicBezTo>
                    <a:pt x="632370" y="6496344"/>
                    <a:pt x="629433" y="6480850"/>
                    <a:pt x="625762" y="6465355"/>
                  </a:cubicBezTo>
                  <a:cubicBezTo>
                    <a:pt x="619934" y="6446470"/>
                    <a:pt x="621402" y="6411607"/>
                    <a:pt x="619246" y="6380860"/>
                  </a:cubicBezTo>
                  <a:cubicBezTo>
                    <a:pt x="617777" y="6365365"/>
                    <a:pt x="614106" y="6349870"/>
                    <a:pt x="611949" y="6334618"/>
                  </a:cubicBezTo>
                  <a:lnTo>
                    <a:pt x="619934" y="6292491"/>
                  </a:lnTo>
                  <a:cubicBezTo>
                    <a:pt x="616309" y="6269249"/>
                    <a:pt x="612638" y="6246249"/>
                    <a:pt x="607544" y="6219133"/>
                  </a:cubicBezTo>
                  <a:cubicBezTo>
                    <a:pt x="603185" y="6234385"/>
                    <a:pt x="598780" y="6249881"/>
                    <a:pt x="592218" y="6269249"/>
                  </a:cubicBezTo>
                  <a:cubicBezTo>
                    <a:pt x="588592" y="6257627"/>
                    <a:pt x="583453" y="6238501"/>
                    <a:pt x="576891" y="6215501"/>
                  </a:cubicBezTo>
                  <a:lnTo>
                    <a:pt x="551331" y="6215501"/>
                  </a:lnTo>
                  <a:cubicBezTo>
                    <a:pt x="546972" y="6195890"/>
                    <a:pt x="542567" y="6172890"/>
                    <a:pt x="538208" y="6149890"/>
                  </a:cubicBezTo>
                  <a:cubicBezTo>
                    <a:pt x="536051" y="6095901"/>
                    <a:pt x="533114" y="6038279"/>
                    <a:pt x="546284" y="5992037"/>
                  </a:cubicBezTo>
                  <a:lnTo>
                    <a:pt x="546284" y="5792058"/>
                  </a:lnTo>
                  <a:lnTo>
                    <a:pt x="555003" y="5745816"/>
                  </a:lnTo>
                  <a:cubicBezTo>
                    <a:pt x="551332" y="5733952"/>
                    <a:pt x="547706" y="5726447"/>
                    <a:pt x="544816" y="5718699"/>
                  </a:cubicBezTo>
                  <a:cubicBezTo>
                    <a:pt x="529443" y="5753563"/>
                    <a:pt x="524395" y="5841931"/>
                    <a:pt x="509023" y="5872679"/>
                  </a:cubicBezTo>
                  <a:cubicBezTo>
                    <a:pt x="496633" y="5895679"/>
                    <a:pt x="485666" y="5930543"/>
                    <a:pt x="471854" y="5969037"/>
                  </a:cubicBezTo>
                  <a:lnTo>
                    <a:pt x="441889" y="5969037"/>
                  </a:lnTo>
                  <a:cubicBezTo>
                    <a:pt x="428765" y="6003417"/>
                    <a:pt x="417110" y="6057406"/>
                    <a:pt x="403252" y="6061522"/>
                  </a:cubicBezTo>
                  <a:cubicBezTo>
                    <a:pt x="392239" y="6067332"/>
                    <a:pt x="383291" y="6125680"/>
                    <a:pt x="372323" y="6125680"/>
                  </a:cubicBezTo>
                  <a:cubicBezTo>
                    <a:pt x="368790" y="6125680"/>
                    <a:pt x="365027" y="6119627"/>
                    <a:pt x="360943" y="6103648"/>
                  </a:cubicBezTo>
                  <a:cubicBezTo>
                    <a:pt x="352179" y="6046027"/>
                    <a:pt x="366037" y="6023027"/>
                    <a:pt x="368928" y="5972669"/>
                  </a:cubicBezTo>
                  <a:cubicBezTo>
                    <a:pt x="367505" y="5957416"/>
                    <a:pt x="366037" y="5938290"/>
                    <a:pt x="363880" y="5915048"/>
                  </a:cubicBezTo>
                  <a:lnTo>
                    <a:pt x="356584" y="5953542"/>
                  </a:lnTo>
                  <a:cubicBezTo>
                    <a:pt x="354335" y="5961290"/>
                    <a:pt x="351444" y="5969037"/>
                    <a:pt x="348508" y="5969037"/>
                  </a:cubicBezTo>
                  <a:lnTo>
                    <a:pt x="307667" y="5969037"/>
                  </a:lnTo>
                  <a:cubicBezTo>
                    <a:pt x="299637" y="5930542"/>
                    <a:pt x="304731" y="5887931"/>
                    <a:pt x="302574" y="5849437"/>
                  </a:cubicBezTo>
                  <a:cubicBezTo>
                    <a:pt x="306199" y="5830552"/>
                    <a:pt x="309136" y="5815057"/>
                    <a:pt x="312027" y="5795689"/>
                  </a:cubicBezTo>
                  <a:lnTo>
                    <a:pt x="298903" y="5726447"/>
                  </a:lnTo>
                  <a:cubicBezTo>
                    <a:pt x="289312" y="5747995"/>
                    <a:pt x="285549" y="5823774"/>
                    <a:pt x="272471" y="5823774"/>
                  </a:cubicBezTo>
                  <a:cubicBezTo>
                    <a:pt x="271600" y="5823774"/>
                    <a:pt x="270682" y="5823531"/>
                    <a:pt x="269718" y="5822805"/>
                  </a:cubicBezTo>
                  <a:cubicBezTo>
                    <a:pt x="262422" y="5861300"/>
                    <a:pt x="255126" y="5907542"/>
                    <a:pt x="246361" y="5941922"/>
                  </a:cubicBezTo>
                  <a:cubicBezTo>
                    <a:pt x="239065" y="5972669"/>
                    <a:pt x="228878" y="5992038"/>
                    <a:pt x="220113" y="6018911"/>
                  </a:cubicBezTo>
                  <a:cubicBezTo>
                    <a:pt x="215020" y="6030532"/>
                    <a:pt x="209881" y="6046027"/>
                    <a:pt x="201896" y="6065154"/>
                  </a:cubicBezTo>
                  <a:lnTo>
                    <a:pt x="139856" y="6065154"/>
                  </a:lnTo>
                  <a:cubicBezTo>
                    <a:pt x="133294" y="6100016"/>
                    <a:pt x="126732" y="6134396"/>
                    <a:pt x="120170" y="6165143"/>
                  </a:cubicBezTo>
                  <a:cubicBezTo>
                    <a:pt x="118656" y="6164174"/>
                    <a:pt x="117233" y="6163932"/>
                    <a:pt x="115811" y="6163932"/>
                  </a:cubicBezTo>
                  <a:cubicBezTo>
                    <a:pt x="99842" y="6163932"/>
                    <a:pt x="87957" y="6219133"/>
                    <a:pt x="70565" y="6261501"/>
                  </a:cubicBezTo>
                  <a:lnTo>
                    <a:pt x="37021" y="6261502"/>
                  </a:lnTo>
                  <a:cubicBezTo>
                    <a:pt x="34084" y="6246249"/>
                    <a:pt x="29725" y="6223006"/>
                    <a:pt x="24586" y="6200007"/>
                  </a:cubicBezTo>
                  <a:cubicBezTo>
                    <a:pt x="23851" y="6161511"/>
                    <a:pt x="22429" y="6123017"/>
                    <a:pt x="21649" y="6084522"/>
                  </a:cubicBezTo>
                  <a:cubicBezTo>
                    <a:pt x="17427" y="6067332"/>
                    <a:pt x="12884" y="6063216"/>
                    <a:pt x="8158" y="6063217"/>
                  </a:cubicBezTo>
                  <a:lnTo>
                    <a:pt x="0" y="6065302"/>
                  </a:lnTo>
                  <a:lnTo>
                    <a:pt x="1001940" y="0"/>
                  </a:lnTo>
                  <a:lnTo>
                    <a:pt x="1619469" y="102011"/>
                  </a:lnTo>
                  <a:lnTo>
                    <a:pt x="1619502" y="118785"/>
                  </a:lnTo>
                  <a:cubicBezTo>
                    <a:pt x="1620058" y="128470"/>
                    <a:pt x="1620976" y="141059"/>
                    <a:pt x="1621710" y="156554"/>
                  </a:cubicBezTo>
                  <a:cubicBezTo>
                    <a:pt x="1626804" y="119875"/>
                    <a:pt x="1633366" y="112127"/>
                    <a:pt x="1640203" y="106831"/>
                  </a:cubicBezTo>
                  <a:lnTo>
                    <a:pt x="1641497" y="105650"/>
                  </a:lnTo>
                  <a:close/>
                </a:path>
              </a:pathLst>
            </a:custGeom>
            <a:solidFill>
              <a:srgbClr val="BD0D0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3" name="Google Shape;223;p11"/>
            <p:cNvSpPr/>
            <p:nvPr/>
          </p:nvSpPr>
          <p:spPr>
            <a:xfrm rot="-5434376">
              <a:off x="-1768020" y="2731288"/>
              <a:ext cx="6870522" cy="1393512"/>
            </a:xfrm>
            <a:custGeom>
              <a:avLst/>
              <a:gdLst/>
              <a:ahLst/>
              <a:cxnLst/>
              <a:rect l="l" t="t" r="r" b="b"/>
              <a:pathLst>
                <a:path w="6870178" h="1393442" extrusionOk="0">
                  <a:moveTo>
                    <a:pt x="281814" y="273373"/>
                  </a:moveTo>
                  <a:cubicBezTo>
                    <a:pt x="281315" y="270661"/>
                    <a:pt x="276527" y="267500"/>
                    <a:pt x="264828" y="263631"/>
                  </a:cubicBezTo>
                  <a:cubicBezTo>
                    <a:pt x="259748" y="264152"/>
                    <a:pt x="254534" y="264281"/>
                    <a:pt x="249186" y="264282"/>
                  </a:cubicBezTo>
                  <a:cubicBezTo>
                    <a:pt x="241565" y="264281"/>
                    <a:pt x="233811" y="264021"/>
                    <a:pt x="226190" y="264021"/>
                  </a:cubicBezTo>
                  <a:cubicBezTo>
                    <a:pt x="216029" y="264021"/>
                    <a:pt x="206002" y="264476"/>
                    <a:pt x="196777" y="266687"/>
                  </a:cubicBezTo>
                  <a:lnTo>
                    <a:pt x="215762" y="279105"/>
                  </a:lnTo>
                  <a:cubicBezTo>
                    <a:pt x="215762" y="280210"/>
                    <a:pt x="166963" y="289442"/>
                    <a:pt x="164824" y="289442"/>
                  </a:cubicBezTo>
                  <a:cubicBezTo>
                    <a:pt x="188220" y="293603"/>
                    <a:pt x="213757" y="291522"/>
                    <a:pt x="241298" y="292628"/>
                  </a:cubicBezTo>
                  <a:cubicBezTo>
                    <a:pt x="246211" y="285606"/>
                    <a:pt x="283312" y="281510"/>
                    <a:pt x="281814" y="273373"/>
                  </a:cubicBezTo>
                  <a:close/>
                  <a:moveTo>
                    <a:pt x="398658" y="206744"/>
                  </a:moveTo>
                  <a:cubicBezTo>
                    <a:pt x="398658" y="200568"/>
                    <a:pt x="396653" y="195432"/>
                    <a:pt x="394380" y="189256"/>
                  </a:cubicBezTo>
                  <a:cubicBezTo>
                    <a:pt x="364566" y="194392"/>
                    <a:pt x="345581" y="198487"/>
                    <a:pt x="347586" y="206744"/>
                  </a:cubicBezTo>
                  <a:cubicBezTo>
                    <a:pt x="324323" y="208825"/>
                    <a:pt x="303065" y="208825"/>
                    <a:pt x="322051" y="216106"/>
                  </a:cubicBezTo>
                  <a:cubicBezTo>
                    <a:pt x="328602" y="214026"/>
                    <a:pt x="337024" y="210905"/>
                    <a:pt x="339164" y="208825"/>
                  </a:cubicBezTo>
                  <a:cubicBezTo>
                    <a:pt x="358282" y="207849"/>
                    <a:pt x="375395" y="207849"/>
                    <a:pt x="398658" y="206744"/>
                  </a:cubicBezTo>
                  <a:close/>
                  <a:moveTo>
                    <a:pt x="458153" y="228524"/>
                  </a:moveTo>
                  <a:cubicBezTo>
                    <a:pt x="449596" y="224363"/>
                    <a:pt x="470854" y="216106"/>
                    <a:pt x="443313" y="207849"/>
                  </a:cubicBezTo>
                  <a:cubicBezTo>
                    <a:pt x="428339" y="212985"/>
                    <a:pt x="413632" y="218187"/>
                    <a:pt x="396653" y="222283"/>
                  </a:cubicBezTo>
                  <a:cubicBezTo>
                    <a:pt x="379540" y="226443"/>
                    <a:pt x="360421" y="228524"/>
                    <a:pt x="349859" y="230604"/>
                  </a:cubicBezTo>
                  <a:lnTo>
                    <a:pt x="413632" y="255375"/>
                  </a:lnTo>
                  <a:cubicBezTo>
                    <a:pt x="428339" y="246078"/>
                    <a:pt x="441174" y="238861"/>
                    <a:pt x="458153" y="228524"/>
                  </a:cubicBezTo>
                  <a:close/>
                  <a:moveTo>
                    <a:pt x="934379" y="162340"/>
                  </a:moveTo>
                  <a:cubicBezTo>
                    <a:pt x="929566" y="159414"/>
                    <a:pt x="927426" y="158114"/>
                    <a:pt x="914057" y="158114"/>
                  </a:cubicBezTo>
                  <a:cubicBezTo>
                    <a:pt x="903628" y="158114"/>
                    <a:pt x="886382" y="158894"/>
                    <a:pt x="855765" y="160259"/>
                  </a:cubicBezTo>
                  <a:cubicBezTo>
                    <a:pt x="849348" y="158244"/>
                    <a:pt x="840791" y="155058"/>
                    <a:pt x="836513" y="154083"/>
                  </a:cubicBezTo>
                  <a:cubicBezTo>
                    <a:pt x="813250" y="162340"/>
                    <a:pt x="789719" y="170596"/>
                    <a:pt x="766456" y="177813"/>
                  </a:cubicBezTo>
                  <a:cubicBezTo>
                    <a:pt x="764317" y="177813"/>
                    <a:pt x="768462" y="179893"/>
                    <a:pt x="772740" y="179893"/>
                  </a:cubicBezTo>
                  <a:lnTo>
                    <a:pt x="889724" y="179893"/>
                  </a:lnTo>
                  <a:cubicBezTo>
                    <a:pt x="904565" y="173717"/>
                    <a:pt x="930101" y="170596"/>
                    <a:pt x="934379" y="162340"/>
                  </a:cubicBezTo>
                  <a:close/>
                  <a:moveTo>
                    <a:pt x="964059" y="137569"/>
                  </a:moveTo>
                  <a:cubicBezTo>
                    <a:pt x="960717" y="136659"/>
                    <a:pt x="958712" y="135164"/>
                    <a:pt x="955770" y="135164"/>
                  </a:cubicBezTo>
                  <a:cubicBezTo>
                    <a:pt x="955101" y="135164"/>
                    <a:pt x="954433" y="135294"/>
                    <a:pt x="953497" y="135489"/>
                  </a:cubicBezTo>
                  <a:cubicBezTo>
                    <a:pt x="947080" y="135489"/>
                    <a:pt x="940796" y="136464"/>
                    <a:pt x="934378" y="137569"/>
                  </a:cubicBezTo>
                  <a:cubicBezTo>
                    <a:pt x="938523" y="138545"/>
                    <a:pt x="940796" y="140625"/>
                    <a:pt x="945074" y="140625"/>
                  </a:cubicBezTo>
                  <a:cubicBezTo>
                    <a:pt x="951358" y="140625"/>
                    <a:pt x="957776" y="138545"/>
                    <a:pt x="964059" y="137569"/>
                  </a:cubicBezTo>
                  <a:close/>
                  <a:moveTo>
                    <a:pt x="1140538" y="215066"/>
                  </a:moveTo>
                  <a:lnTo>
                    <a:pt x="1140538" y="197512"/>
                  </a:lnTo>
                  <a:cubicBezTo>
                    <a:pt x="1112863" y="198487"/>
                    <a:pt x="1100162" y="199593"/>
                    <a:pt x="1081043" y="200568"/>
                  </a:cubicBezTo>
                  <a:cubicBezTo>
                    <a:pt x="1085322" y="207849"/>
                    <a:pt x="1087327" y="212986"/>
                    <a:pt x="1091605" y="218187"/>
                  </a:cubicBezTo>
                  <a:cubicBezTo>
                    <a:pt x="1110857" y="217081"/>
                    <a:pt x="1125698" y="216106"/>
                    <a:pt x="1140538" y="215066"/>
                  </a:cubicBezTo>
                  <a:close/>
                  <a:moveTo>
                    <a:pt x="1176636" y="139585"/>
                  </a:moveTo>
                  <a:cubicBezTo>
                    <a:pt x="1160860" y="134189"/>
                    <a:pt x="1143212" y="133084"/>
                    <a:pt x="1125698" y="133083"/>
                  </a:cubicBezTo>
                  <a:cubicBezTo>
                    <a:pt x="1114601" y="133083"/>
                    <a:pt x="1103504" y="133539"/>
                    <a:pt x="1092675" y="133539"/>
                  </a:cubicBezTo>
                  <a:cubicBezTo>
                    <a:pt x="1081845" y="133539"/>
                    <a:pt x="1071417" y="133083"/>
                    <a:pt x="1061925" y="131328"/>
                  </a:cubicBezTo>
                  <a:cubicBezTo>
                    <a:pt x="1038394" y="125867"/>
                    <a:pt x="1024891" y="123331"/>
                    <a:pt x="1015532" y="123331"/>
                  </a:cubicBezTo>
                  <a:cubicBezTo>
                    <a:pt x="1007109" y="123331"/>
                    <a:pt x="1002029" y="125347"/>
                    <a:pt x="996012" y="129248"/>
                  </a:cubicBezTo>
                  <a:cubicBezTo>
                    <a:pt x="1015131" y="135489"/>
                    <a:pt x="1032111" y="140625"/>
                    <a:pt x="1047085" y="145826"/>
                  </a:cubicBezTo>
                  <a:cubicBezTo>
                    <a:pt x="1066069" y="156163"/>
                    <a:pt x="1032110" y="170596"/>
                    <a:pt x="1074626" y="180934"/>
                  </a:cubicBezTo>
                  <a:cubicBezTo>
                    <a:pt x="1078904" y="171637"/>
                    <a:pt x="1085322" y="162340"/>
                    <a:pt x="1087327" y="157139"/>
                  </a:cubicBezTo>
                  <a:cubicBezTo>
                    <a:pt x="1121419" y="149922"/>
                    <a:pt x="1146955" y="144721"/>
                    <a:pt x="1176636" y="139585"/>
                  </a:cubicBezTo>
                  <a:close/>
                  <a:moveTo>
                    <a:pt x="1463681" y="130288"/>
                  </a:moveTo>
                  <a:cubicBezTo>
                    <a:pt x="1461542" y="128207"/>
                    <a:pt x="1457264" y="126127"/>
                    <a:pt x="1455259" y="124047"/>
                  </a:cubicBezTo>
                  <a:cubicBezTo>
                    <a:pt x="1450981" y="125152"/>
                    <a:pt x="1444429" y="126127"/>
                    <a:pt x="1444429" y="127232"/>
                  </a:cubicBezTo>
                  <a:cubicBezTo>
                    <a:pt x="1446702" y="129248"/>
                    <a:pt x="1450980" y="131328"/>
                    <a:pt x="1455259" y="133409"/>
                  </a:cubicBezTo>
                  <a:cubicBezTo>
                    <a:pt x="1457264" y="132368"/>
                    <a:pt x="1463681" y="131328"/>
                    <a:pt x="1463681" y="130288"/>
                  </a:cubicBezTo>
                  <a:close/>
                  <a:moveTo>
                    <a:pt x="1701794" y="288467"/>
                  </a:moveTo>
                  <a:cubicBezTo>
                    <a:pt x="1699521" y="286386"/>
                    <a:pt x="1695377" y="283266"/>
                    <a:pt x="1691099" y="283266"/>
                  </a:cubicBezTo>
                  <a:cubicBezTo>
                    <a:pt x="1678264" y="283266"/>
                    <a:pt x="1665563" y="284306"/>
                    <a:pt x="1652862" y="284306"/>
                  </a:cubicBezTo>
                  <a:lnTo>
                    <a:pt x="1652862" y="290547"/>
                  </a:lnTo>
                  <a:cubicBezTo>
                    <a:pt x="1665563" y="290547"/>
                    <a:pt x="1678264" y="291522"/>
                    <a:pt x="1693238" y="291522"/>
                  </a:cubicBezTo>
                  <a:cubicBezTo>
                    <a:pt x="1695377" y="291522"/>
                    <a:pt x="1701795" y="289442"/>
                    <a:pt x="1701794" y="288467"/>
                  </a:cubicBezTo>
                  <a:close/>
                  <a:moveTo>
                    <a:pt x="1709181" y="133376"/>
                  </a:moveTo>
                  <a:cubicBezTo>
                    <a:pt x="1709181" y="130272"/>
                    <a:pt x="1703867" y="127167"/>
                    <a:pt x="1693238" y="124047"/>
                  </a:cubicBezTo>
                  <a:cubicBezTo>
                    <a:pt x="1671980" y="130288"/>
                    <a:pt x="1671980" y="136464"/>
                    <a:pt x="1693238" y="142706"/>
                  </a:cubicBezTo>
                  <a:cubicBezTo>
                    <a:pt x="1703866" y="139585"/>
                    <a:pt x="1709181" y="136480"/>
                    <a:pt x="1709181" y="133376"/>
                  </a:cubicBezTo>
                  <a:close/>
                  <a:moveTo>
                    <a:pt x="1793109" y="119951"/>
                  </a:moveTo>
                  <a:cubicBezTo>
                    <a:pt x="1786157" y="118260"/>
                    <a:pt x="1780809" y="116570"/>
                    <a:pt x="1774392" y="116570"/>
                  </a:cubicBezTo>
                  <a:cubicBezTo>
                    <a:pt x="1772921" y="116570"/>
                    <a:pt x="1771450" y="116700"/>
                    <a:pt x="1769846" y="116895"/>
                  </a:cubicBezTo>
                  <a:cubicBezTo>
                    <a:pt x="1765033" y="111564"/>
                    <a:pt x="1765033" y="106233"/>
                    <a:pt x="1755273" y="106233"/>
                  </a:cubicBezTo>
                  <a:cubicBezTo>
                    <a:pt x="1751663" y="106233"/>
                    <a:pt x="1746850" y="106948"/>
                    <a:pt x="1740032" y="108573"/>
                  </a:cubicBezTo>
                  <a:cubicBezTo>
                    <a:pt x="1746182" y="110784"/>
                    <a:pt x="1751128" y="112474"/>
                    <a:pt x="1756610" y="112474"/>
                  </a:cubicBezTo>
                  <a:cubicBezTo>
                    <a:pt x="1758749" y="112474"/>
                    <a:pt x="1761022" y="112214"/>
                    <a:pt x="1763295" y="111694"/>
                  </a:cubicBezTo>
                  <a:cubicBezTo>
                    <a:pt x="1768108" y="117025"/>
                    <a:pt x="1768108" y="122291"/>
                    <a:pt x="1777867" y="122291"/>
                  </a:cubicBezTo>
                  <a:cubicBezTo>
                    <a:pt x="1781477" y="122291"/>
                    <a:pt x="1786290" y="121576"/>
                    <a:pt x="1793109" y="119951"/>
                  </a:cubicBezTo>
                  <a:close/>
                  <a:moveTo>
                    <a:pt x="1825062" y="100316"/>
                  </a:moveTo>
                  <a:lnTo>
                    <a:pt x="1805810" y="97196"/>
                  </a:lnTo>
                  <a:cubicBezTo>
                    <a:pt x="1803804" y="97196"/>
                    <a:pt x="1799526" y="99276"/>
                    <a:pt x="1795382" y="100317"/>
                  </a:cubicBezTo>
                  <a:cubicBezTo>
                    <a:pt x="1803805" y="101357"/>
                    <a:pt x="1810088" y="102397"/>
                    <a:pt x="1814367" y="103372"/>
                  </a:cubicBezTo>
                  <a:cubicBezTo>
                    <a:pt x="1818645" y="102397"/>
                    <a:pt x="1822923" y="101357"/>
                    <a:pt x="1825062" y="100316"/>
                  </a:cubicBezTo>
                  <a:close/>
                  <a:moveTo>
                    <a:pt x="2067453" y="129248"/>
                  </a:moveTo>
                  <a:cubicBezTo>
                    <a:pt x="2063175" y="124047"/>
                    <a:pt x="2060902" y="119951"/>
                    <a:pt x="2056758" y="115790"/>
                  </a:cubicBezTo>
                  <a:cubicBezTo>
                    <a:pt x="2036569" y="115335"/>
                    <a:pt x="2016916" y="114295"/>
                    <a:pt x="1998065" y="114295"/>
                  </a:cubicBezTo>
                  <a:cubicBezTo>
                    <a:pt x="1979214" y="114294"/>
                    <a:pt x="1961165" y="115335"/>
                    <a:pt x="1944185" y="118910"/>
                  </a:cubicBezTo>
                  <a:lnTo>
                    <a:pt x="1944185" y="130288"/>
                  </a:lnTo>
                  <a:cubicBezTo>
                    <a:pt x="1963438" y="132758"/>
                    <a:pt x="1982690" y="134059"/>
                    <a:pt x="2002210" y="134059"/>
                  </a:cubicBezTo>
                  <a:cubicBezTo>
                    <a:pt x="2023601" y="134059"/>
                    <a:pt x="2045260" y="132498"/>
                    <a:pt x="2067453" y="129248"/>
                  </a:cubicBezTo>
                  <a:close/>
                  <a:moveTo>
                    <a:pt x="2271474" y="278129"/>
                  </a:moveTo>
                  <a:cubicBezTo>
                    <a:pt x="2269335" y="277024"/>
                    <a:pt x="2265056" y="276049"/>
                    <a:pt x="2260778" y="275009"/>
                  </a:cubicBezTo>
                  <a:lnTo>
                    <a:pt x="2241793" y="278129"/>
                  </a:lnTo>
                  <a:cubicBezTo>
                    <a:pt x="2245938" y="279105"/>
                    <a:pt x="2250216" y="281185"/>
                    <a:pt x="2252221" y="281185"/>
                  </a:cubicBezTo>
                  <a:close/>
                  <a:moveTo>
                    <a:pt x="2301288" y="259535"/>
                  </a:moveTo>
                  <a:cubicBezTo>
                    <a:pt x="2291662" y="255895"/>
                    <a:pt x="2282035" y="254074"/>
                    <a:pt x="2272276" y="254074"/>
                  </a:cubicBezTo>
                  <a:cubicBezTo>
                    <a:pt x="2262382" y="254074"/>
                    <a:pt x="2252355" y="255895"/>
                    <a:pt x="2241793" y="259535"/>
                  </a:cubicBezTo>
                  <a:cubicBezTo>
                    <a:pt x="2252355" y="262656"/>
                    <a:pt x="2262382" y="264151"/>
                    <a:pt x="2272276" y="264152"/>
                  </a:cubicBezTo>
                  <a:cubicBezTo>
                    <a:pt x="2282035" y="264151"/>
                    <a:pt x="2291662" y="262656"/>
                    <a:pt x="2301288" y="259535"/>
                  </a:cubicBezTo>
                  <a:close/>
                  <a:moveTo>
                    <a:pt x="2539267" y="109613"/>
                  </a:moveTo>
                  <a:cubicBezTo>
                    <a:pt x="2535122" y="108573"/>
                    <a:pt x="2532850" y="106558"/>
                    <a:pt x="2528571" y="106558"/>
                  </a:cubicBezTo>
                  <a:lnTo>
                    <a:pt x="2509586" y="109613"/>
                  </a:lnTo>
                  <a:cubicBezTo>
                    <a:pt x="2513865" y="110654"/>
                    <a:pt x="2515870" y="112734"/>
                    <a:pt x="2520148" y="112734"/>
                  </a:cubicBezTo>
                  <a:cubicBezTo>
                    <a:pt x="2526566" y="112734"/>
                    <a:pt x="2532849" y="110654"/>
                    <a:pt x="2539267" y="109613"/>
                  </a:cubicBezTo>
                  <a:close/>
                  <a:moveTo>
                    <a:pt x="2717885" y="250173"/>
                  </a:moveTo>
                  <a:cubicBezTo>
                    <a:pt x="2717885" y="249198"/>
                    <a:pt x="2709329" y="247118"/>
                    <a:pt x="2707189" y="247118"/>
                  </a:cubicBezTo>
                  <a:cubicBezTo>
                    <a:pt x="2700906" y="248093"/>
                    <a:pt x="2688071" y="249198"/>
                    <a:pt x="2688071" y="250174"/>
                  </a:cubicBezTo>
                  <a:cubicBezTo>
                    <a:pt x="2688071" y="254334"/>
                    <a:pt x="2692349" y="258430"/>
                    <a:pt x="2694488" y="262591"/>
                  </a:cubicBezTo>
                  <a:lnTo>
                    <a:pt x="2711467" y="262591"/>
                  </a:lnTo>
                  <a:close/>
                  <a:moveTo>
                    <a:pt x="3514981" y="111694"/>
                  </a:moveTo>
                  <a:cubicBezTo>
                    <a:pt x="3502147" y="103372"/>
                    <a:pt x="3489446" y="95115"/>
                    <a:pt x="3472466" y="86859"/>
                  </a:cubicBezTo>
                  <a:cubicBezTo>
                    <a:pt x="3471797" y="86534"/>
                    <a:pt x="3469659" y="86404"/>
                    <a:pt x="3466583" y="86404"/>
                  </a:cubicBezTo>
                  <a:cubicBezTo>
                    <a:pt x="3460434" y="86404"/>
                    <a:pt x="3450540" y="86859"/>
                    <a:pt x="3440647" y="86859"/>
                  </a:cubicBezTo>
                  <a:cubicBezTo>
                    <a:pt x="3423667" y="92060"/>
                    <a:pt x="3404415" y="99276"/>
                    <a:pt x="3385430" y="106558"/>
                  </a:cubicBezTo>
                  <a:cubicBezTo>
                    <a:pt x="3384360" y="106623"/>
                    <a:pt x="3383290" y="106623"/>
                    <a:pt x="3382087" y="106623"/>
                  </a:cubicBezTo>
                  <a:cubicBezTo>
                    <a:pt x="3375402" y="106623"/>
                    <a:pt x="3366445" y="105583"/>
                    <a:pt x="3359359" y="105583"/>
                  </a:cubicBezTo>
                  <a:cubicBezTo>
                    <a:pt x="3351739" y="105583"/>
                    <a:pt x="3346123" y="106753"/>
                    <a:pt x="3347059" y="111694"/>
                  </a:cubicBezTo>
                  <a:cubicBezTo>
                    <a:pt x="3357621" y="112734"/>
                    <a:pt x="3366178" y="114815"/>
                    <a:pt x="3374600" y="114815"/>
                  </a:cubicBezTo>
                  <a:lnTo>
                    <a:pt x="3504420" y="114815"/>
                  </a:lnTo>
                  <a:cubicBezTo>
                    <a:pt x="3508698" y="114815"/>
                    <a:pt x="3510703" y="112734"/>
                    <a:pt x="3514981" y="111694"/>
                  </a:cubicBezTo>
                  <a:close/>
                  <a:moveTo>
                    <a:pt x="3813792" y="102462"/>
                  </a:moveTo>
                  <a:cubicBezTo>
                    <a:pt x="3811520" y="100707"/>
                    <a:pt x="3808177" y="98886"/>
                    <a:pt x="3804033" y="96221"/>
                  </a:cubicBezTo>
                  <a:lnTo>
                    <a:pt x="3653223" y="96221"/>
                  </a:lnTo>
                  <a:cubicBezTo>
                    <a:pt x="3640388" y="92060"/>
                    <a:pt x="3633971" y="89979"/>
                    <a:pt x="3625548" y="86859"/>
                  </a:cubicBezTo>
                  <a:cubicBezTo>
                    <a:pt x="3608435" y="91020"/>
                    <a:pt x="3591455" y="95116"/>
                    <a:pt x="3551213" y="105453"/>
                  </a:cubicBezTo>
                  <a:cubicBezTo>
                    <a:pt x="3661245" y="105453"/>
                    <a:pt x="3739591" y="105453"/>
                    <a:pt x="3813792" y="102462"/>
                  </a:cubicBezTo>
                  <a:close/>
                  <a:moveTo>
                    <a:pt x="3816867" y="156163"/>
                  </a:moveTo>
                  <a:cubicBezTo>
                    <a:pt x="3807241" y="153043"/>
                    <a:pt x="3797749" y="151482"/>
                    <a:pt x="3787855" y="151482"/>
                  </a:cubicBezTo>
                  <a:cubicBezTo>
                    <a:pt x="3778096" y="151482"/>
                    <a:pt x="3767934" y="153043"/>
                    <a:pt x="3757239" y="156163"/>
                  </a:cubicBezTo>
                  <a:cubicBezTo>
                    <a:pt x="3767935" y="159739"/>
                    <a:pt x="3778095" y="161560"/>
                    <a:pt x="3787855" y="161560"/>
                  </a:cubicBezTo>
                  <a:cubicBezTo>
                    <a:pt x="3797749" y="161560"/>
                    <a:pt x="3807241" y="159739"/>
                    <a:pt x="3816867" y="156163"/>
                  </a:cubicBezTo>
                  <a:close/>
                  <a:moveTo>
                    <a:pt x="3844543" y="110654"/>
                  </a:moveTo>
                  <a:cubicBezTo>
                    <a:pt x="3836119" y="108638"/>
                    <a:pt x="3827696" y="106558"/>
                    <a:pt x="3817134" y="105518"/>
                  </a:cubicBezTo>
                  <a:cubicBezTo>
                    <a:pt x="3819808" y="109548"/>
                    <a:pt x="3821413" y="112994"/>
                    <a:pt x="3829301" y="112994"/>
                  </a:cubicBezTo>
                  <a:cubicBezTo>
                    <a:pt x="3832911" y="112994"/>
                    <a:pt x="3837724" y="112344"/>
                    <a:pt x="3844543" y="110654"/>
                  </a:cubicBezTo>
                  <a:close/>
                  <a:moveTo>
                    <a:pt x="4084661" y="109613"/>
                  </a:moveTo>
                  <a:cubicBezTo>
                    <a:pt x="4082655" y="105453"/>
                    <a:pt x="4080382" y="100316"/>
                    <a:pt x="4071826" y="87899"/>
                  </a:cubicBezTo>
                  <a:cubicBezTo>
                    <a:pt x="4061398" y="102397"/>
                    <a:pt x="4031583" y="103372"/>
                    <a:pt x="4029311" y="111694"/>
                  </a:cubicBezTo>
                  <a:cubicBezTo>
                    <a:pt x="4038001" y="113514"/>
                    <a:pt x="4045755" y="114555"/>
                    <a:pt x="4053643" y="114554"/>
                  </a:cubicBezTo>
                  <a:cubicBezTo>
                    <a:pt x="4063135" y="114554"/>
                    <a:pt x="4072895" y="112994"/>
                    <a:pt x="4084661" y="109613"/>
                  </a:cubicBezTo>
                  <a:close/>
                  <a:moveTo>
                    <a:pt x="4322773" y="91020"/>
                  </a:moveTo>
                  <a:cubicBezTo>
                    <a:pt x="4322773" y="89979"/>
                    <a:pt x="4314217" y="87899"/>
                    <a:pt x="4312212" y="87899"/>
                  </a:cubicBezTo>
                  <a:cubicBezTo>
                    <a:pt x="4305660" y="88939"/>
                    <a:pt x="4292959" y="89979"/>
                    <a:pt x="4292959" y="92060"/>
                  </a:cubicBezTo>
                  <a:cubicBezTo>
                    <a:pt x="4292959" y="96221"/>
                    <a:pt x="4297238" y="100316"/>
                    <a:pt x="4299377" y="104477"/>
                  </a:cubicBezTo>
                  <a:cubicBezTo>
                    <a:pt x="4303655" y="103372"/>
                    <a:pt x="4309939" y="103372"/>
                    <a:pt x="4316489" y="103372"/>
                  </a:cubicBezTo>
                  <a:close/>
                  <a:moveTo>
                    <a:pt x="4411948" y="118910"/>
                  </a:moveTo>
                  <a:lnTo>
                    <a:pt x="4392964" y="115790"/>
                  </a:lnTo>
                  <a:cubicBezTo>
                    <a:pt x="4388685" y="116895"/>
                    <a:pt x="4384407" y="117870"/>
                    <a:pt x="4382268" y="118911"/>
                  </a:cubicBezTo>
                  <a:cubicBezTo>
                    <a:pt x="4388685" y="119951"/>
                    <a:pt x="4394969" y="122031"/>
                    <a:pt x="4401520" y="122031"/>
                  </a:cubicBezTo>
                  <a:cubicBezTo>
                    <a:pt x="4403526" y="122031"/>
                    <a:pt x="4407804" y="119951"/>
                    <a:pt x="4411948" y="118910"/>
                  </a:cubicBezTo>
                  <a:close/>
                  <a:moveTo>
                    <a:pt x="4592839" y="99276"/>
                  </a:moveTo>
                  <a:cubicBezTo>
                    <a:pt x="4588561" y="96221"/>
                    <a:pt x="4586288" y="92060"/>
                    <a:pt x="4582010" y="87899"/>
                  </a:cubicBezTo>
                  <a:lnTo>
                    <a:pt x="4520510" y="87899"/>
                  </a:lnTo>
                  <a:cubicBezTo>
                    <a:pt x="4539494" y="98236"/>
                    <a:pt x="4518237" y="106558"/>
                    <a:pt x="4539494" y="112734"/>
                  </a:cubicBezTo>
                  <a:cubicBezTo>
                    <a:pt x="4563025" y="111694"/>
                    <a:pt x="4573587" y="104477"/>
                    <a:pt x="4592839" y="99276"/>
                  </a:cubicBezTo>
                  <a:close/>
                  <a:moveTo>
                    <a:pt x="4651298" y="114774"/>
                  </a:moveTo>
                  <a:cubicBezTo>
                    <a:pt x="4651298" y="111678"/>
                    <a:pt x="4645984" y="108573"/>
                    <a:pt x="4635355" y="105453"/>
                  </a:cubicBezTo>
                  <a:cubicBezTo>
                    <a:pt x="4614097" y="111694"/>
                    <a:pt x="4614097" y="117870"/>
                    <a:pt x="4635355" y="124047"/>
                  </a:cubicBezTo>
                  <a:cubicBezTo>
                    <a:pt x="4645984" y="120958"/>
                    <a:pt x="4651298" y="117870"/>
                    <a:pt x="4651298" y="114774"/>
                  </a:cubicBezTo>
                  <a:close/>
                  <a:moveTo>
                    <a:pt x="5030694" y="148882"/>
                  </a:moveTo>
                  <a:cubicBezTo>
                    <a:pt x="5028421" y="146801"/>
                    <a:pt x="5024277" y="144721"/>
                    <a:pt x="5019998" y="142706"/>
                  </a:cubicBezTo>
                  <a:cubicBezTo>
                    <a:pt x="5017859" y="143746"/>
                    <a:pt x="5011442" y="144721"/>
                    <a:pt x="5011442" y="145826"/>
                  </a:cubicBezTo>
                  <a:cubicBezTo>
                    <a:pt x="5013715" y="147907"/>
                    <a:pt x="5017859" y="149922"/>
                    <a:pt x="5019998" y="152003"/>
                  </a:cubicBezTo>
                  <a:cubicBezTo>
                    <a:pt x="5024277" y="150962"/>
                    <a:pt x="5026416" y="149922"/>
                    <a:pt x="5030694" y="148882"/>
                  </a:cubicBezTo>
                  <a:close/>
                  <a:moveTo>
                    <a:pt x="6858526" y="1241856"/>
                  </a:moveTo>
                  <a:lnTo>
                    <a:pt x="6831046" y="1237409"/>
                  </a:lnTo>
                  <a:cubicBezTo>
                    <a:pt x="6826768" y="1238384"/>
                    <a:pt x="6818345" y="1240464"/>
                    <a:pt x="6803505" y="1244626"/>
                  </a:cubicBezTo>
                  <a:lnTo>
                    <a:pt x="6633443" y="1244625"/>
                  </a:lnTo>
                  <a:cubicBezTo>
                    <a:pt x="6620742" y="1247746"/>
                    <a:pt x="6610046" y="1249827"/>
                    <a:pt x="6597212" y="1253922"/>
                  </a:cubicBezTo>
                  <a:cubicBezTo>
                    <a:pt x="6586650" y="1250802"/>
                    <a:pt x="6578227" y="1248721"/>
                    <a:pt x="6565392" y="1245665"/>
                  </a:cubicBezTo>
                  <a:lnTo>
                    <a:pt x="6508036" y="1245666"/>
                  </a:lnTo>
                  <a:cubicBezTo>
                    <a:pt x="6497474" y="1247746"/>
                    <a:pt x="6486779" y="1250802"/>
                    <a:pt x="6476217" y="1253923"/>
                  </a:cubicBezTo>
                  <a:lnTo>
                    <a:pt x="6121120" y="1253922"/>
                  </a:lnTo>
                  <a:cubicBezTo>
                    <a:pt x="6112563" y="1256003"/>
                    <a:pt x="6106279" y="1259059"/>
                    <a:pt x="6099862" y="1261139"/>
                  </a:cubicBezTo>
                  <a:cubicBezTo>
                    <a:pt x="6095584" y="1262179"/>
                    <a:pt x="6091305" y="1263219"/>
                    <a:pt x="6089300" y="1263219"/>
                  </a:cubicBezTo>
                  <a:lnTo>
                    <a:pt x="5793698" y="1263219"/>
                  </a:lnTo>
                  <a:cubicBezTo>
                    <a:pt x="5785275" y="1266340"/>
                    <a:pt x="5778991" y="1268420"/>
                    <a:pt x="5766156" y="1272516"/>
                  </a:cubicBezTo>
                  <a:cubicBezTo>
                    <a:pt x="5757734" y="1270501"/>
                    <a:pt x="5749177" y="1267315"/>
                    <a:pt x="5734203" y="1264260"/>
                  </a:cubicBezTo>
                  <a:cubicBezTo>
                    <a:pt x="5727919" y="1266340"/>
                    <a:pt x="5717224" y="1269396"/>
                    <a:pt x="5700244" y="1273556"/>
                  </a:cubicBezTo>
                  <a:lnTo>
                    <a:pt x="5168802" y="1273556"/>
                  </a:lnTo>
                  <a:cubicBezTo>
                    <a:pt x="5155967" y="1277652"/>
                    <a:pt x="5149684" y="1279733"/>
                    <a:pt x="5141261" y="1281813"/>
                  </a:cubicBezTo>
                  <a:lnTo>
                    <a:pt x="5109307" y="1272517"/>
                  </a:lnTo>
                  <a:lnTo>
                    <a:pt x="4992457" y="1272516"/>
                  </a:lnTo>
                  <a:cubicBezTo>
                    <a:pt x="4981761" y="1275637"/>
                    <a:pt x="4971199" y="1278758"/>
                    <a:pt x="4958364" y="1282854"/>
                  </a:cubicBezTo>
                  <a:lnTo>
                    <a:pt x="4903148" y="1282854"/>
                  </a:lnTo>
                  <a:cubicBezTo>
                    <a:pt x="4890313" y="1285974"/>
                    <a:pt x="4879617" y="1287990"/>
                    <a:pt x="4871195" y="1291176"/>
                  </a:cubicBezTo>
                  <a:cubicBezTo>
                    <a:pt x="4862638" y="1287990"/>
                    <a:pt x="4854215" y="1285974"/>
                    <a:pt x="4845659" y="1282854"/>
                  </a:cubicBezTo>
                  <a:lnTo>
                    <a:pt x="4779880" y="1282853"/>
                  </a:lnTo>
                  <a:cubicBezTo>
                    <a:pt x="4771324" y="1285974"/>
                    <a:pt x="4764906" y="1287990"/>
                    <a:pt x="4752071" y="1292151"/>
                  </a:cubicBezTo>
                  <a:lnTo>
                    <a:pt x="4514092" y="1292150"/>
                  </a:lnTo>
                  <a:cubicBezTo>
                    <a:pt x="4501258" y="1296312"/>
                    <a:pt x="4494974" y="1298327"/>
                    <a:pt x="4486551" y="1300407"/>
                  </a:cubicBezTo>
                  <a:lnTo>
                    <a:pt x="4163408" y="1300407"/>
                  </a:lnTo>
                  <a:cubicBezTo>
                    <a:pt x="4150572" y="1303528"/>
                    <a:pt x="4139877" y="1306649"/>
                    <a:pt x="4129315" y="1309769"/>
                  </a:cubicBezTo>
                  <a:cubicBezTo>
                    <a:pt x="4118620" y="1306649"/>
                    <a:pt x="4108057" y="1303528"/>
                    <a:pt x="4099635" y="1301512"/>
                  </a:cubicBezTo>
                  <a:lnTo>
                    <a:pt x="3950831" y="1301512"/>
                  </a:lnTo>
                  <a:cubicBezTo>
                    <a:pt x="3942274" y="1303528"/>
                    <a:pt x="3935856" y="1305608"/>
                    <a:pt x="3921016" y="1309769"/>
                  </a:cubicBezTo>
                  <a:cubicBezTo>
                    <a:pt x="3883849" y="1310224"/>
                    <a:pt x="3844543" y="1310224"/>
                    <a:pt x="3804433" y="1310224"/>
                  </a:cubicBezTo>
                  <a:cubicBezTo>
                    <a:pt x="3764191" y="1310225"/>
                    <a:pt x="3723413" y="1310224"/>
                    <a:pt x="3682903" y="1310745"/>
                  </a:cubicBezTo>
                  <a:cubicBezTo>
                    <a:pt x="3674481" y="1312825"/>
                    <a:pt x="3665924" y="1315946"/>
                    <a:pt x="3655229" y="1319001"/>
                  </a:cubicBezTo>
                  <a:cubicBezTo>
                    <a:pt x="3646805" y="1316986"/>
                    <a:pt x="3638249" y="1313865"/>
                    <a:pt x="3623409" y="1310745"/>
                  </a:cubicBezTo>
                  <a:lnTo>
                    <a:pt x="3536239" y="1310744"/>
                  </a:lnTo>
                  <a:cubicBezTo>
                    <a:pt x="3529955" y="1312825"/>
                    <a:pt x="3517120" y="1315946"/>
                    <a:pt x="3506424" y="1319001"/>
                  </a:cubicBezTo>
                  <a:cubicBezTo>
                    <a:pt x="3495863" y="1315946"/>
                    <a:pt x="3485167" y="1313865"/>
                    <a:pt x="3474605" y="1310745"/>
                  </a:cubicBezTo>
                  <a:lnTo>
                    <a:pt x="3417115" y="1310745"/>
                  </a:lnTo>
                  <a:lnTo>
                    <a:pt x="3385430" y="1320106"/>
                  </a:lnTo>
                  <a:lnTo>
                    <a:pt x="3058008" y="1320106"/>
                  </a:lnTo>
                  <a:cubicBezTo>
                    <a:pt x="3051590" y="1322187"/>
                    <a:pt x="3045307" y="1324202"/>
                    <a:pt x="3036750" y="1326283"/>
                  </a:cubicBezTo>
                  <a:cubicBezTo>
                    <a:pt x="3034478" y="1327258"/>
                    <a:pt x="3030333" y="1329338"/>
                    <a:pt x="3026055" y="1329339"/>
                  </a:cubicBezTo>
                  <a:lnTo>
                    <a:pt x="2732725" y="1329338"/>
                  </a:lnTo>
                  <a:cubicBezTo>
                    <a:pt x="2724169" y="1331419"/>
                    <a:pt x="2715612" y="1334540"/>
                    <a:pt x="2702911" y="1337595"/>
                  </a:cubicBezTo>
                  <a:lnTo>
                    <a:pt x="2437257" y="1337595"/>
                  </a:lnTo>
                  <a:cubicBezTo>
                    <a:pt x="2424556" y="1341756"/>
                    <a:pt x="2418138" y="1343836"/>
                    <a:pt x="2407576" y="1346957"/>
                  </a:cubicBezTo>
                  <a:cubicBezTo>
                    <a:pt x="2399020" y="1344877"/>
                    <a:pt x="2388324" y="1341756"/>
                    <a:pt x="2375623" y="1338701"/>
                  </a:cubicBezTo>
                  <a:cubicBezTo>
                    <a:pt x="2367066" y="1341756"/>
                    <a:pt x="2356504" y="1343837"/>
                    <a:pt x="2345809" y="1346957"/>
                  </a:cubicBezTo>
                  <a:cubicBezTo>
                    <a:pt x="2337252" y="1344877"/>
                    <a:pt x="2326690" y="1341756"/>
                    <a:pt x="2315994" y="1338701"/>
                  </a:cubicBezTo>
                  <a:cubicBezTo>
                    <a:pt x="2309711" y="1340781"/>
                    <a:pt x="2301288" y="1342861"/>
                    <a:pt x="2288453" y="1346957"/>
                  </a:cubicBezTo>
                  <a:cubicBezTo>
                    <a:pt x="2263051" y="1346957"/>
                    <a:pt x="2228958" y="1347932"/>
                    <a:pt x="2194999" y="1347932"/>
                  </a:cubicBezTo>
                  <a:cubicBezTo>
                    <a:pt x="2188448" y="1351118"/>
                    <a:pt x="2182164" y="1353199"/>
                    <a:pt x="2169464" y="1356254"/>
                  </a:cubicBezTo>
                  <a:lnTo>
                    <a:pt x="1871856" y="1356254"/>
                  </a:lnTo>
                  <a:cubicBezTo>
                    <a:pt x="1859155" y="1360350"/>
                    <a:pt x="1852604" y="1362431"/>
                    <a:pt x="1844181" y="1365551"/>
                  </a:cubicBezTo>
                  <a:lnTo>
                    <a:pt x="1674119" y="1365551"/>
                  </a:lnTo>
                  <a:cubicBezTo>
                    <a:pt x="1655001" y="1369712"/>
                    <a:pt x="1638021" y="1372768"/>
                    <a:pt x="1623048" y="1375888"/>
                  </a:cubicBezTo>
                  <a:lnTo>
                    <a:pt x="1606068" y="1375889"/>
                  </a:lnTo>
                  <a:lnTo>
                    <a:pt x="1574248" y="1366591"/>
                  </a:lnTo>
                  <a:lnTo>
                    <a:pt x="1542295" y="1375888"/>
                  </a:lnTo>
                  <a:lnTo>
                    <a:pt x="1365950" y="1375888"/>
                  </a:lnTo>
                  <a:cubicBezTo>
                    <a:pt x="1355254" y="1378944"/>
                    <a:pt x="1344692" y="1382130"/>
                    <a:pt x="1327713" y="1387266"/>
                  </a:cubicBezTo>
                  <a:cubicBezTo>
                    <a:pt x="1310600" y="1384210"/>
                    <a:pt x="1291481" y="1380049"/>
                    <a:pt x="1272363" y="1376929"/>
                  </a:cubicBezTo>
                  <a:cubicBezTo>
                    <a:pt x="1265945" y="1378944"/>
                    <a:pt x="1257389" y="1381025"/>
                    <a:pt x="1246826" y="1385185"/>
                  </a:cubicBezTo>
                  <a:lnTo>
                    <a:pt x="1068342" y="1385186"/>
                  </a:lnTo>
                  <a:lnTo>
                    <a:pt x="1042806" y="1393442"/>
                  </a:lnTo>
                  <a:lnTo>
                    <a:pt x="885580" y="1393442"/>
                  </a:lnTo>
                  <a:cubicBezTo>
                    <a:pt x="874750" y="1390387"/>
                    <a:pt x="868467" y="1387266"/>
                    <a:pt x="860044" y="1385185"/>
                  </a:cubicBezTo>
                  <a:lnTo>
                    <a:pt x="683431" y="1385185"/>
                  </a:lnTo>
                  <a:cubicBezTo>
                    <a:pt x="662173" y="1378944"/>
                    <a:pt x="640915" y="1372768"/>
                    <a:pt x="619658" y="1365551"/>
                  </a:cubicBezTo>
                  <a:cubicBezTo>
                    <a:pt x="606957" y="1365551"/>
                    <a:pt x="590512" y="1366917"/>
                    <a:pt x="577678" y="1366917"/>
                  </a:cubicBezTo>
                  <a:cubicBezTo>
                    <a:pt x="571394" y="1366916"/>
                    <a:pt x="565912" y="1366591"/>
                    <a:pt x="562436" y="1365551"/>
                  </a:cubicBezTo>
                  <a:cubicBezTo>
                    <a:pt x="509225" y="1351118"/>
                    <a:pt x="424194" y="1351118"/>
                    <a:pt x="388096" y="1328363"/>
                  </a:cubicBezTo>
                  <a:cubicBezTo>
                    <a:pt x="375395" y="1332524"/>
                    <a:pt x="364566" y="1335580"/>
                    <a:pt x="354137" y="1338701"/>
                  </a:cubicBezTo>
                  <a:cubicBezTo>
                    <a:pt x="347587" y="1336620"/>
                    <a:pt x="341303" y="1333499"/>
                    <a:pt x="328601" y="1330444"/>
                  </a:cubicBezTo>
                  <a:lnTo>
                    <a:pt x="239293" y="1330444"/>
                  </a:lnTo>
                  <a:cubicBezTo>
                    <a:pt x="220040" y="1324203"/>
                    <a:pt x="205334" y="1320106"/>
                    <a:pt x="192499" y="1314905"/>
                  </a:cubicBezTo>
                  <a:lnTo>
                    <a:pt x="192499" y="1295271"/>
                  </a:lnTo>
                  <a:cubicBezTo>
                    <a:pt x="175519" y="1293191"/>
                    <a:pt x="158540" y="1292150"/>
                    <a:pt x="137282" y="1289095"/>
                  </a:cubicBezTo>
                  <a:cubicBezTo>
                    <a:pt x="135010" y="1285974"/>
                    <a:pt x="133004" y="1281813"/>
                    <a:pt x="128726" y="1276677"/>
                  </a:cubicBezTo>
                  <a:cubicBezTo>
                    <a:pt x="107468" y="1273557"/>
                    <a:pt x="81932" y="1269396"/>
                    <a:pt x="47973" y="1264260"/>
                  </a:cubicBezTo>
                  <a:lnTo>
                    <a:pt x="1179" y="1264260"/>
                  </a:lnTo>
                  <a:lnTo>
                    <a:pt x="0" y="1263901"/>
                  </a:lnTo>
                  <a:lnTo>
                    <a:pt x="10283" y="189805"/>
                  </a:lnTo>
                  <a:lnTo>
                    <a:pt x="20298" y="189255"/>
                  </a:lnTo>
                  <a:cubicBezTo>
                    <a:pt x="54257" y="184054"/>
                    <a:pt x="86210" y="177813"/>
                    <a:pt x="124448" y="170596"/>
                  </a:cubicBezTo>
                  <a:lnTo>
                    <a:pt x="181803" y="170596"/>
                  </a:lnTo>
                  <a:cubicBezTo>
                    <a:pt x="196777" y="163380"/>
                    <a:pt x="215762" y="155058"/>
                    <a:pt x="235014" y="145826"/>
                  </a:cubicBezTo>
                  <a:cubicBezTo>
                    <a:pt x="311622" y="133409"/>
                    <a:pt x="392374" y="119951"/>
                    <a:pt x="477405" y="106558"/>
                  </a:cubicBezTo>
                  <a:cubicBezTo>
                    <a:pt x="483689" y="108573"/>
                    <a:pt x="494385" y="111694"/>
                    <a:pt x="504947" y="114815"/>
                  </a:cubicBezTo>
                  <a:cubicBezTo>
                    <a:pt x="508824" y="115075"/>
                    <a:pt x="512433" y="115140"/>
                    <a:pt x="515910" y="115140"/>
                  </a:cubicBezTo>
                  <a:cubicBezTo>
                    <a:pt x="555484" y="115140"/>
                    <a:pt x="565244" y="99991"/>
                    <a:pt x="598400" y="96221"/>
                  </a:cubicBezTo>
                  <a:cubicBezTo>
                    <a:pt x="628215" y="92060"/>
                    <a:pt x="658029" y="88939"/>
                    <a:pt x="691988" y="83803"/>
                  </a:cubicBezTo>
                  <a:cubicBezTo>
                    <a:pt x="694261" y="80682"/>
                    <a:pt x="696266" y="76521"/>
                    <a:pt x="700544" y="71385"/>
                  </a:cubicBezTo>
                  <a:cubicBezTo>
                    <a:pt x="710037" y="68070"/>
                    <a:pt x="718459" y="66769"/>
                    <a:pt x="726214" y="66769"/>
                  </a:cubicBezTo>
                  <a:cubicBezTo>
                    <a:pt x="742792" y="66769"/>
                    <a:pt x="756295" y="72621"/>
                    <a:pt x="770735" y="77627"/>
                  </a:cubicBezTo>
                  <a:lnTo>
                    <a:pt x="976894" y="77627"/>
                  </a:lnTo>
                  <a:cubicBezTo>
                    <a:pt x="981039" y="77627"/>
                    <a:pt x="985317" y="75546"/>
                    <a:pt x="993874" y="72360"/>
                  </a:cubicBezTo>
                  <a:lnTo>
                    <a:pt x="993873" y="44535"/>
                  </a:lnTo>
                  <a:cubicBezTo>
                    <a:pt x="1007510" y="40634"/>
                    <a:pt x="1021281" y="39724"/>
                    <a:pt x="1034651" y="39724"/>
                  </a:cubicBezTo>
                  <a:cubicBezTo>
                    <a:pt x="1046148" y="39724"/>
                    <a:pt x="1057513" y="40374"/>
                    <a:pt x="1068342" y="40374"/>
                  </a:cubicBezTo>
                  <a:cubicBezTo>
                    <a:pt x="1081043" y="40374"/>
                    <a:pt x="1094413" y="39464"/>
                    <a:pt x="1107783" y="39464"/>
                  </a:cubicBezTo>
                  <a:cubicBezTo>
                    <a:pt x="1118879" y="39464"/>
                    <a:pt x="1129976" y="40114"/>
                    <a:pt x="1140538" y="42454"/>
                  </a:cubicBezTo>
                  <a:cubicBezTo>
                    <a:pt x="1129842" y="47590"/>
                    <a:pt x="1121420" y="52791"/>
                    <a:pt x="1112863" y="57928"/>
                  </a:cubicBezTo>
                  <a:cubicBezTo>
                    <a:pt x="1110858" y="58968"/>
                    <a:pt x="1112863" y="61048"/>
                    <a:pt x="1112863" y="62023"/>
                  </a:cubicBezTo>
                  <a:cubicBezTo>
                    <a:pt x="1128238" y="64819"/>
                    <a:pt x="1136661" y="66379"/>
                    <a:pt x="1144683" y="66379"/>
                  </a:cubicBezTo>
                  <a:cubicBezTo>
                    <a:pt x="1154710" y="66379"/>
                    <a:pt x="1164068" y="64104"/>
                    <a:pt x="1185192" y="58968"/>
                  </a:cubicBezTo>
                  <a:lnTo>
                    <a:pt x="1270223" y="58968"/>
                  </a:lnTo>
                  <a:cubicBezTo>
                    <a:pt x="1280919" y="55847"/>
                    <a:pt x="1291481" y="53767"/>
                    <a:pt x="1304182" y="50711"/>
                  </a:cubicBezTo>
                  <a:cubicBezTo>
                    <a:pt x="1317017" y="52791"/>
                    <a:pt x="1331857" y="55847"/>
                    <a:pt x="1342419" y="58968"/>
                  </a:cubicBezTo>
                  <a:cubicBezTo>
                    <a:pt x="1378651" y="58968"/>
                    <a:pt x="1387207" y="49671"/>
                    <a:pt x="1412744" y="44535"/>
                  </a:cubicBezTo>
                  <a:cubicBezTo>
                    <a:pt x="1397769" y="42454"/>
                    <a:pt x="1387207" y="41349"/>
                    <a:pt x="1376512" y="40374"/>
                  </a:cubicBezTo>
                  <a:cubicBezTo>
                    <a:pt x="1367955" y="38293"/>
                    <a:pt x="1361671" y="37253"/>
                    <a:pt x="1353115" y="36278"/>
                  </a:cubicBezTo>
                  <a:cubicBezTo>
                    <a:pt x="1355254" y="35173"/>
                    <a:pt x="1357393" y="33092"/>
                    <a:pt x="1359532" y="33092"/>
                  </a:cubicBezTo>
                  <a:cubicBezTo>
                    <a:pt x="1412744" y="31012"/>
                    <a:pt x="1465687" y="30036"/>
                    <a:pt x="1516759" y="28996"/>
                  </a:cubicBezTo>
                  <a:cubicBezTo>
                    <a:pt x="1527455" y="25941"/>
                    <a:pt x="1540289" y="23860"/>
                    <a:pt x="1554996" y="19699"/>
                  </a:cubicBezTo>
                  <a:cubicBezTo>
                    <a:pt x="1569970" y="22755"/>
                    <a:pt x="1586950" y="25941"/>
                    <a:pt x="1604063" y="28996"/>
                  </a:cubicBezTo>
                  <a:cubicBezTo>
                    <a:pt x="1617833" y="28151"/>
                    <a:pt x="1626122" y="20414"/>
                    <a:pt x="1645910" y="20414"/>
                  </a:cubicBezTo>
                  <a:cubicBezTo>
                    <a:pt x="1650321" y="20414"/>
                    <a:pt x="1655402" y="20805"/>
                    <a:pt x="1661284" y="21780"/>
                  </a:cubicBezTo>
                  <a:cubicBezTo>
                    <a:pt x="1680537" y="24835"/>
                    <a:pt x="1680537" y="30037"/>
                    <a:pt x="1671980" y="37253"/>
                  </a:cubicBezTo>
                  <a:cubicBezTo>
                    <a:pt x="1657809" y="39659"/>
                    <a:pt x="1642968" y="40374"/>
                    <a:pt x="1627860" y="40374"/>
                  </a:cubicBezTo>
                  <a:cubicBezTo>
                    <a:pt x="1608073" y="40374"/>
                    <a:pt x="1587885" y="39203"/>
                    <a:pt x="1568098" y="39203"/>
                  </a:cubicBezTo>
                  <a:cubicBezTo>
                    <a:pt x="1564489" y="39203"/>
                    <a:pt x="1560879" y="39204"/>
                    <a:pt x="1557269" y="39333"/>
                  </a:cubicBezTo>
                  <a:cubicBezTo>
                    <a:pt x="1523177" y="40374"/>
                    <a:pt x="1489217" y="40374"/>
                    <a:pt x="1446702" y="40374"/>
                  </a:cubicBezTo>
                  <a:cubicBezTo>
                    <a:pt x="1444429" y="44535"/>
                    <a:pt x="1442424" y="50711"/>
                    <a:pt x="1440285" y="54872"/>
                  </a:cubicBezTo>
                  <a:cubicBezTo>
                    <a:pt x="1454055" y="57927"/>
                    <a:pt x="1467291" y="58708"/>
                    <a:pt x="1479859" y="58708"/>
                  </a:cubicBezTo>
                  <a:cubicBezTo>
                    <a:pt x="1492694" y="58708"/>
                    <a:pt x="1504994" y="57927"/>
                    <a:pt x="1516759" y="57927"/>
                  </a:cubicBezTo>
                  <a:lnTo>
                    <a:pt x="1536011" y="51686"/>
                  </a:lnTo>
                  <a:cubicBezTo>
                    <a:pt x="1546841" y="49671"/>
                    <a:pt x="1557135" y="48891"/>
                    <a:pt x="1567162" y="48891"/>
                  </a:cubicBezTo>
                  <a:cubicBezTo>
                    <a:pt x="1592297" y="48891"/>
                    <a:pt x="1615159" y="53962"/>
                    <a:pt x="1638021" y="56952"/>
                  </a:cubicBezTo>
                  <a:cubicBezTo>
                    <a:pt x="1644305" y="54872"/>
                    <a:pt x="1652862" y="52791"/>
                    <a:pt x="1661284" y="49671"/>
                  </a:cubicBezTo>
                  <a:lnTo>
                    <a:pt x="1876134" y="49671"/>
                  </a:lnTo>
                  <a:cubicBezTo>
                    <a:pt x="1899397" y="41349"/>
                    <a:pt x="1929212" y="30037"/>
                    <a:pt x="1961165" y="18659"/>
                  </a:cubicBezTo>
                  <a:cubicBezTo>
                    <a:pt x="1969588" y="26916"/>
                    <a:pt x="1975871" y="32117"/>
                    <a:pt x="1984428" y="39334"/>
                  </a:cubicBezTo>
                  <a:lnTo>
                    <a:pt x="2103418" y="39334"/>
                  </a:lnTo>
                  <a:cubicBezTo>
                    <a:pt x="2122670" y="44535"/>
                    <a:pt x="2133232" y="46615"/>
                    <a:pt x="2148206" y="50711"/>
                  </a:cubicBezTo>
                  <a:cubicBezTo>
                    <a:pt x="2165185" y="47590"/>
                    <a:pt x="2180025" y="44535"/>
                    <a:pt x="2201283" y="41349"/>
                  </a:cubicBezTo>
                  <a:lnTo>
                    <a:pt x="2320273" y="41349"/>
                  </a:lnTo>
                  <a:cubicBezTo>
                    <a:pt x="2330969" y="44535"/>
                    <a:pt x="2337252" y="46615"/>
                    <a:pt x="2343803" y="48631"/>
                  </a:cubicBezTo>
                  <a:cubicBezTo>
                    <a:pt x="2367066" y="38293"/>
                    <a:pt x="2411721" y="40374"/>
                    <a:pt x="2439396" y="31012"/>
                  </a:cubicBezTo>
                  <a:cubicBezTo>
                    <a:pt x="2443006" y="29711"/>
                    <a:pt x="2450359" y="29386"/>
                    <a:pt x="2459049" y="29386"/>
                  </a:cubicBezTo>
                  <a:cubicBezTo>
                    <a:pt x="2470815" y="29386"/>
                    <a:pt x="2484853" y="30037"/>
                    <a:pt x="2494612" y="30037"/>
                  </a:cubicBezTo>
                  <a:cubicBezTo>
                    <a:pt x="2503169" y="33092"/>
                    <a:pt x="2509587" y="35173"/>
                    <a:pt x="2518009" y="37253"/>
                  </a:cubicBezTo>
                  <a:cubicBezTo>
                    <a:pt x="2529641" y="39464"/>
                    <a:pt x="2540470" y="40309"/>
                    <a:pt x="2550765" y="40309"/>
                  </a:cubicBezTo>
                  <a:cubicBezTo>
                    <a:pt x="2574563" y="40309"/>
                    <a:pt x="2595687" y="35693"/>
                    <a:pt x="2617880" y="32117"/>
                  </a:cubicBezTo>
                  <a:cubicBezTo>
                    <a:pt x="2626437" y="34197"/>
                    <a:pt x="2632854" y="36278"/>
                    <a:pt x="2641411" y="39334"/>
                  </a:cubicBezTo>
                  <a:cubicBezTo>
                    <a:pt x="2651973" y="36278"/>
                    <a:pt x="2662668" y="34197"/>
                    <a:pt x="2673230" y="31012"/>
                  </a:cubicBezTo>
                  <a:lnTo>
                    <a:pt x="2819895" y="31012"/>
                  </a:lnTo>
                  <a:cubicBezTo>
                    <a:pt x="2830457" y="33092"/>
                    <a:pt x="2841153" y="36278"/>
                    <a:pt x="2851715" y="40374"/>
                  </a:cubicBezTo>
                  <a:cubicBezTo>
                    <a:pt x="2855859" y="40829"/>
                    <a:pt x="2859603" y="41024"/>
                    <a:pt x="2863213" y="41024"/>
                  </a:cubicBezTo>
                  <a:cubicBezTo>
                    <a:pt x="2885139" y="41024"/>
                    <a:pt x="2896637" y="33742"/>
                    <a:pt x="2911209" y="31012"/>
                  </a:cubicBezTo>
                  <a:lnTo>
                    <a:pt x="3089827" y="31012"/>
                  </a:lnTo>
                  <a:cubicBezTo>
                    <a:pt x="3098250" y="33092"/>
                    <a:pt x="3104802" y="35173"/>
                    <a:pt x="3115363" y="39333"/>
                  </a:cubicBezTo>
                  <a:cubicBezTo>
                    <a:pt x="3123786" y="37253"/>
                    <a:pt x="3134482" y="35173"/>
                    <a:pt x="3147317" y="31012"/>
                  </a:cubicBezTo>
                  <a:lnTo>
                    <a:pt x="3211090" y="31012"/>
                  </a:lnTo>
                  <a:cubicBezTo>
                    <a:pt x="3219513" y="34197"/>
                    <a:pt x="3225796" y="36278"/>
                    <a:pt x="3236626" y="39333"/>
                  </a:cubicBezTo>
                  <a:cubicBezTo>
                    <a:pt x="3245049" y="36278"/>
                    <a:pt x="3255611" y="34197"/>
                    <a:pt x="3266307" y="31012"/>
                  </a:cubicBezTo>
                  <a:cubicBezTo>
                    <a:pt x="3289169" y="36603"/>
                    <a:pt x="3300934" y="39464"/>
                    <a:pt x="3312298" y="39464"/>
                  </a:cubicBezTo>
                  <a:cubicBezTo>
                    <a:pt x="3324331" y="39464"/>
                    <a:pt x="3335962" y="36408"/>
                    <a:pt x="3359894" y="30037"/>
                  </a:cubicBezTo>
                  <a:lnTo>
                    <a:pt x="3415110" y="30037"/>
                  </a:lnTo>
                  <a:cubicBezTo>
                    <a:pt x="3427945" y="26916"/>
                    <a:pt x="3436368" y="24835"/>
                    <a:pt x="3446930" y="21780"/>
                  </a:cubicBezTo>
                  <a:cubicBezTo>
                    <a:pt x="3455487" y="24835"/>
                    <a:pt x="3461904" y="26916"/>
                    <a:pt x="3472466" y="30036"/>
                  </a:cubicBezTo>
                  <a:lnTo>
                    <a:pt x="3591456" y="30037"/>
                  </a:lnTo>
                  <a:cubicBezTo>
                    <a:pt x="3602151" y="26916"/>
                    <a:pt x="3616992" y="23860"/>
                    <a:pt x="3638249" y="19699"/>
                  </a:cubicBezTo>
                  <a:cubicBezTo>
                    <a:pt x="3653223" y="22755"/>
                    <a:pt x="3668063" y="25941"/>
                    <a:pt x="3687182" y="30037"/>
                  </a:cubicBezTo>
                  <a:lnTo>
                    <a:pt x="3738254" y="30037"/>
                  </a:lnTo>
                  <a:cubicBezTo>
                    <a:pt x="3754164" y="33157"/>
                    <a:pt x="3764191" y="39789"/>
                    <a:pt x="3784379" y="39789"/>
                  </a:cubicBezTo>
                  <a:cubicBezTo>
                    <a:pt x="3791064" y="39789"/>
                    <a:pt x="3798818" y="39073"/>
                    <a:pt x="3808311" y="37253"/>
                  </a:cubicBezTo>
                  <a:cubicBezTo>
                    <a:pt x="3810450" y="35173"/>
                    <a:pt x="3816867" y="28996"/>
                    <a:pt x="3823285" y="23860"/>
                  </a:cubicBezTo>
                  <a:cubicBezTo>
                    <a:pt x="3835050" y="21520"/>
                    <a:pt x="3847083" y="20935"/>
                    <a:pt x="3859115" y="20935"/>
                  </a:cubicBezTo>
                  <a:cubicBezTo>
                    <a:pt x="3872218" y="20935"/>
                    <a:pt x="3885186" y="21650"/>
                    <a:pt x="3897754" y="21650"/>
                  </a:cubicBezTo>
                  <a:cubicBezTo>
                    <a:pt x="3904973" y="21650"/>
                    <a:pt x="3912059" y="21390"/>
                    <a:pt x="3918877" y="20675"/>
                  </a:cubicBezTo>
                  <a:cubicBezTo>
                    <a:pt x="3933851" y="24835"/>
                    <a:pt x="3944414" y="27956"/>
                    <a:pt x="3959253" y="32117"/>
                  </a:cubicBezTo>
                  <a:cubicBezTo>
                    <a:pt x="3974094" y="30037"/>
                    <a:pt x="3991073" y="26916"/>
                    <a:pt x="4006047" y="23860"/>
                  </a:cubicBezTo>
                  <a:lnTo>
                    <a:pt x="4003908" y="22755"/>
                  </a:lnTo>
                  <a:cubicBezTo>
                    <a:pt x="4008053" y="22755"/>
                    <a:pt x="4012331" y="21780"/>
                    <a:pt x="4016609" y="21780"/>
                  </a:cubicBezTo>
                  <a:cubicBezTo>
                    <a:pt x="4024096" y="21260"/>
                    <a:pt x="4031583" y="21000"/>
                    <a:pt x="4038937" y="21000"/>
                  </a:cubicBezTo>
                  <a:cubicBezTo>
                    <a:pt x="4046423" y="21000"/>
                    <a:pt x="4053910" y="21260"/>
                    <a:pt x="4061398" y="21780"/>
                  </a:cubicBezTo>
                  <a:cubicBezTo>
                    <a:pt x="4068884" y="21780"/>
                    <a:pt x="4078644" y="21520"/>
                    <a:pt x="4087067" y="21520"/>
                  </a:cubicBezTo>
                  <a:cubicBezTo>
                    <a:pt x="4095089" y="21520"/>
                    <a:pt x="4101773" y="21780"/>
                    <a:pt x="4103912" y="22755"/>
                  </a:cubicBezTo>
                  <a:cubicBezTo>
                    <a:pt x="4129315" y="37253"/>
                    <a:pt x="4193088" y="23860"/>
                    <a:pt x="4216485" y="39333"/>
                  </a:cubicBezTo>
                  <a:cubicBezTo>
                    <a:pt x="4239881" y="37253"/>
                    <a:pt x="4229186" y="28996"/>
                    <a:pt x="4237742" y="24835"/>
                  </a:cubicBezTo>
                  <a:cubicBezTo>
                    <a:pt x="4246567" y="21520"/>
                    <a:pt x="4256995" y="20804"/>
                    <a:pt x="4267958" y="20805"/>
                  </a:cubicBezTo>
                  <a:cubicBezTo>
                    <a:pt x="4276247" y="20805"/>
                    <a:pt x="4284670" y="21260"/>
                    <a:pt x="4292691" y="21260"/>
                  </a:cubicBezTo>
                  <a:cubicBezTo>
                    <a:pt x="4297103" y="21260"/>
                    <a:pt x="4301516" y="21130"/>
                    <a:pt x="4305660" y="20675"/>
                  </a:cubicBezTo>
                  <a:cubicBezTo>
                    <a:pt x="4316490" y="17619"/>
                    <a:pt x="4329191" y="14498"/>
                    <a:pt x="4337747" y="12418"/>
                  </a:cubicBezTo>
                  <a:lnTo>
                    <a:pt x="4371706" y="12418"/>
                  </a:lnTo>
                  <a:cubicBezTo>
                    <a:pt x="4377990" y="17619"/>
                    <a:pt x="4382268" y="22755"/>
                    <a:pt x="4388685" y="27956"/>
                  </a:cubicBezTo>
                  <a:cubicBezTo>
                    <a:pt x="4392964" y="28996"/>
                    <a:pt x="4394969" y="28996"/>
                    <a:pt x="4399248" y="30036"/>
                  </a:cubicBezTo>
                  <a:cubicBezTo>
                    <a:pt x="4405665" y="23860"/>
                    <a:pt x="4414221" y="18659"/>
                    <a:pt x="4422778" y="12418"/>
                  </a:cubicBezTo>
                  <a:lnTo>
                    <a:pt x="4488557" y="12418"/>
                  </a:lnTo>
                  <a:cubicBezTo>
                    <a:pt x="4496979" y="15603"/>
                    <a:pt x="4503530" y="17619"/>
                    <a:pt x="4514092" y="20675"/>
                  </a:cubicBezTo>
                  <a:cubicBezTo>
                    <a:pt x="4522515" y="17619"/>
                    <a:pt x="4533211" y="15603"/>
                    <a:pt x="4546046" y="12418"/>
                  </a:cubicBezTo>
                  <a:lnTo>
                    <a:pt x="4635355" y="12418"/>
                  </a:lnTo>
                  <a:cubicBezTo>
                    <a:pt x="4645783" y="15603"/>
                    <a:pt x="4660757" y="19699"/>
                    <a:pt x="4673592" y="23860"/>
                  </a:cubicBezTo>
                  <a:cubicBezTo>
                    <a:pt x="4677870" y="32117"/>
                    <a:pt x="4684154" y="41349"/>
                    <a:pt x="4688298" y="50711"/>
                  </a:cubicBezTo>
                  <a:cubicBezTo>
                    <a:pt x="4716108" y="40374"/>
                    <a:pt x="4754344" y="36278"/>
                    <a:pt x="4735092" y="21780"/>
                  </a:cubicBezTo>
                  <a:lnTo>
                    <a:pt x="4894591" y="21780"/>
                  </a:lnTo>
                  <a:cubicBezTo>
                    <a:pt x="4905153" y="18659"/>
                    <a:pt x="4917988" y="16579"/>
                    <a:pt x="4932828" y="12418"/>
                  </a:cubicBezTo>
                  <a:lnTo>
                    <a:pt x="5019998" y="12418"/>
                  </a:lnTo>
                  <a:cubicBezTo>
                    <a:pt x="5026416" y="14498"/>
                    <a:pt x="5036978" y="17619"/>
                    <a:pt x="5049679" y="20675"/>
                  </a:cubicBezTo>
                  <a:cubicBezTo>
                    <a:pt x="5058235" y="17619"/>
                    <a:pt x="5068931" y="15603"/>
                    <a:pt x="5081632" y="12418"/>
                  </a:cubicBezTo>
                  <a:lnTo>
                    <a:pt x="5136982" y="12418"/>
                  </a:lnTo>
                  <a:cubicBezTo>
                    <a:pt x="5151823" y="8322"/>
                    <a:pt x="5166663" y="4161"/>
                    <a:pt x="5183776" y="0"/>
                  </a:cubicBezTo>
                  <a:cubicBezTo>
                    <a:pt x="5202761" y="5266"/>
                    <a:pt x="5217735" y="8322"/>
                    <a:pt x="5230436" y="11443"/>
                  </a:cubicBezTo>
                  <a:lnTo>
                    <a:pt x="5704389" y="11443"/>
                  </a:lnTo>
                  <a:cubicBezTo>
                    <a:pt x="5717224" y="8322"/>
                    <a:pt x="5727919" y="5266"/>
                    <a:pt x="5736476" y="2081"/>
                  </a:cubicBezTo>
                  <a:cubicBezTo>
                    <a:pt x="5770034" y="2081"/>
                    <a:pt x="5791559" y="13068"/>
                    <a:pt x="5825518" y="13068"/>
                  </a:cubicBezTo>
                  <a:cubicBezTo>
                    <a:pt x="5834475" y="13068"/>
                    <a:pt x="5844235" y="12353"/>
                    <a:pt x="5855465" y="10337"/>
                  </a:cubicBezTo>
                  <a:cubicBezTo>
                    <a:pt x="5857471" y="9362"/>
                    <a:pt x="5870306" y="6241"/>
                    <a:pt x="5883007" y="3186"/>
                  </a:cubicBezTo>
                  <a:lnTo>
                    <a:pt x="6027532" y="3186"/>
                  </a:lnTo>
                  <a:cubicBezTo>
                    <a:pt x="6038228" y="5266"/>
                    <a:pt x="6078604" y="11443"/>
                    <a:pt x="6089300" y="11443"/>
                  </a:cubicBezTo>
                  <a:cubicBezTo>
                    <a:pt x="6099862" y="8322"/>
                    <a:pt x="6110558" y="5266"/>
                    <a:pt x="6121120" y="3186"/>
                  </a:cubicBezTo>
                  <a:cubicBezTo>
                    <a:pt x="6131815" y="5266"/>
                    <a:pt x="6140238" y="8322"/>
                    <a:pt x="6150800" y="11443"/>
                  </a:cubicBezTo>
                  <a:cubicBezTo>
                    <a:pt x="6159357" y="9362"/>
                    <a:pt x="6165774" y="7282"/>
                    <a:pt x="6176336" y="3186"/>
                  </a:cubicBezTo>
                  <a:lnTo>
                    <a:pt x="6242382" y="3186"/>
                  </a:lnTo>
                  <a:cubicBezTo>
                    <a:pt x="6250805" y="6241"/>
                    <a:pt x="6257089" y="8322"/>
                    <a:pt x="6267784" y="11443"/>
                  </a:cubicBezTo>
                  <a:cubicBezTo>
                    <a:pt x="6276341" y="8322"/>
                    <a:pt x="6286903" y="6241"/>
                    <a:pt x="6297599" y="3186"/>
                  </a:cubicBezTo>
                  <a:cubicBezTo>
                    <a:pt x="6308161" y="6241"/>
                    <a:pt x="6316717" y="8322"/>
                    <a:pt x="6329418" y="11443"/>
                  </a:cubicBezTo>
                  <a:lnTo>
                    <a:pt x="6473944" y="11443"/>
                  </a:lnTo>
                  <a:cubicBezTo>
                    <a:pt x="6486779" y="14498"/>
                    <a:pt x="6497474" y="17619"/>
                    <a:pt x="6508036" y="21780"/>
                  </a:cubicBezTo>
                  <a:lnTo>
                    <a:pt x="6565392" y="21780"/>
                  </a:lnTo>
                  <a:cubicBezTo>
                    <a:pt x="6575954" y="23860"/>
                    <a:pt x="6586650" y="26916"/>
                    <a:pt x="6597212" y="30036"/>
                  </a:cubicBezTo>
                  <a:cubicBezTo>
                    <a:pt x="6607907" y="26916"/>
                    <a:pt x="6618469" y="23860"/>
                    <a:pt x="6635449" y="19699"/>
                  </a:cubicBezTo>
                  <a:cubicBezTo>
                    <a:pt x="6650423" y="22755"/>
                    <a:pt x="6665263" y="24835"/>
                    <a:pt x="6692938" y="30037"/>
                  </a:cubicBezTo>
                  <a:lnTo>
                    <a:pt x="6773824" y="30037"/>
                  </a:lnTo>
                  <a:cubicBezTo>
                    <a:pt x="6780108" y="27956"/>
                    <a:pt x="6790804" y="24835"/>
                    <a:pt x="6801366" y="21780"/>
                  </a:cubicBezTo>
                  <a:cubicBezTo>
                    <a:pt x="6816774" y="21780"/>
                    <a:pt x="6829258" y="21910"/>
                    <a:pt x="6840578" y="22378"/>
                  </a:cubicBezTo>
                  <a:lnTo>
                    <a:pt x="6870178" y="24792"/>
                  </a:lnTo>
                  <a:close/>
                </a:path>
              </a:pathLst>
            </a:custGeom>
            <a:solidFill>
              <a:srgbClr val="E9BD0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20923234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008 Three columns">
  <p:cSld name="008 Three columns">
    <p:spTree>
      <p:nvGrpSpPr>
        <p:cNvPr id="1" name="Shape 224"/>
        <p:cNvGrpSpPr/>
        <p:nvPr/>
      </p:nvGrpSpPr>
      <p:grpSpPr>
        <a:xfrm>
          <a:off x="0" y="0"/>
          <a:ext cx="0" cy="0"/>
          <a:chOff x="0" y="0"/>
          <a:chExt cx="0" cy="0"/>
        </a:xfrm>
      </p:grpSpPr>
      <p:pic>
        <p:nvPicPr>
          <p:cNvPr id="225" name="Google Shape;225;p12"/>
          <p:cNvPicPr preferRelativeResize="0"/>
          <p:nvPr/>
        </p:nvPicPr>
        <p:blipFill rotWithShape="1">
          <a:blip r:embed="rId2">
            <a:alphaModFix amt="70000"/>
          </a:blip>
          <a:srcRect l="9321" b="5553"/>
          <a:stretch/>
        </p:blipFill>
        <p:spPr>
          <a:xfrm>
            <a:off x="0" y="381000"/>
            <a:ext cx="5258274" cy="6477002"/>
          </a:xfrm>
          <a:prstGeom prst="rect">
            <a:avLst/>
          </a:prstGeom>
          <a:noFill/>
          <a:ln>
            <a:noFill/>
          </a:ln>
        </p:spPr>
      </p:pic>
      <p:sp>
        <p:nvSpPr>
          <p:cNvPr id="226" name="Google Shape;226;p12"/>
          <p:cNvSpPr txBox="1">
            <a:spLocks noGrp="1"/>
          </p:cNvSpPr>
          <p:nvPr>
            <p:ph type="subTitle" idx="1"/>
          </p:nvPr>
        </p:nvSpPr>
        <p:spPr>
          <a:xfrm>
            <a:off x="5056206" y="1729975"/>
            <a:ext cx="6406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227" name="Google Shape;227;p12"/>
          <p:cNvSpPr txBox="1">
            <a:spLocks noGrp="1"/>
          </p:cNvSpPr>
          <p:nvPr>
            <p:ph type="subTitle" idx="2"/>
          </p:nvPr>
        </p:nvSpPr>
        <p:spPr>
          <a:xfrm>
            <a:off x="5056206" y="3334868"/>
            <a:ext cx="6406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228" name="Google Shape;228;p12"/>
          <p:cNvSpPr txBox="1">
            <a:spLocks noGrp="1"/>
          </p:cNvSpPr>
          <p:nvPr>
            <p:ph type="subTitle" idx="3"/>
          </p:nvPr>
        </p:nvSpPr>
        <p:spPr>
          <a:xfrm>
            <a:off x="5056206" y="4939762"/>
            <a:ext cx="6406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229" name="Google Shape;229;p12"/>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230" name="Google Shape;230;p12"/>
          <p:cNvSpPr txBox="1">
            <a:spLocks noGrp="1"/>
          </p:cNvSpPr>
          <p:nvPr>
            <p:ph type="body" idx="4"/>
          </p:nvPr>
        </p:nvSpPr>
        <p:spPr>
          <a:xfrm>
            <a:off x="5056200" y="2167925"/>
            <a:ext cx="6406800" cy="925200"/>
          </a:xfrm>
          <a:prstGeom prst="rect">
            <a:avLst/>
          </a:prstGeom>
        </p:spPr>
        <p:txBody>
          <a:bodyPr spcFirstLastPara="1" wrap="square" lIns="121900" tIns="121900" rIns="121900" bIns="121900" anchor="t" anchorCtr="0">
            <a:noAutofit/>
          </a:bodyPr>
          <a:lstStyle>
            <a:lvl1pPr marL="457200" lvl="0" indent="-317500">
              <a:spcBef>
                <a:spcPts val="0"/>
              </a:spcBef>
              <a:spcAft>
                <a:spcPts val="0"/>
              </a:spcAft>
              <a:buSzPts val="1400"/>
              <a:buChar char="●"/>
              <a:defRPr sz="1400"/>
            </a:lvl1pPr>
            <a:lvl2pPr marL="914400" lvl="1" indent="-317500">
              <a:spcBef>
                <a:spcPts val="2100"/>
              </a:spcBef>
              <a:spcAft>
                <a:spcPts val="0"/>
              </a:spcAft>
              <a:buSzPts val="1400"/>
              <a:buChar char="○"/>
              <a:defRPr sz="1400"/>
            </a:lvl2pPr>
            <a:lvl3pPr marL="1371600" lvl="2" indent="-317500">
              <a:spcBef>
                <a:spcPts val="2100"/>
              </a:spcBef>
              <a:spcAft>
                <a:spcPts val="0"/>
              </a:spcAft>
              <a:buSzPts val="1400"/>
              <a:buChar char="■"/>
              <a:defRPr sz="1400"/>
            </a:lvl3pPr>
            <a:lvl4pPr marL="1828800" lvl="3" indent="-317500">
              <a:spcBef>
                <a:spcPts val="2100"/>
              </a:spcBef>
              <a:spcAft>
                <a:spcPts val="0"/>
              </a:spcAft>
              <a:buSzPts val="1400"/>
              <a:buChar char="●"/>
              <a:defRPr sz="1400"/>
            </a:lvl4pPr>
            <a:lvl5pPr marL="2286000" lvl="4" indent="-317500">
              <a:spcBef>
                <a:spcPts val="2100"/>
              </a:spcBef>
              <a:spcAft>
                <a:spcPts val="0"/>
              </a:spcAft>
              <a:buSzPts val="1400"/>
              <a:buChar char="○"/>
              <a:defRPr sz="1400"/>
            </a:lvl5pPr>
            <a:lvl6pPr marL="2743200" lvl="5" indent="-317500">
              <a:spcBef>
                <a:spcPts val="2100"/>
              </a:spcBef>
              <a:spcAft>
                <a:spcPts val="0"/>
              </a:spcAft>
              <a:buSzPts val="1400"/>
              <a:buChar char="■"/>
              <a:defRPr sz="1400"/>
            </a:lvl6pPr>
            <a:lvl7pPr marL="3200400" lvl="6" indent="-317500">
              <a:spcBef>
                <a:spcPts val="2100"/>
              </a:spcBef>
              <a:spcAft>
                <a:spcPts val="0"/>
              </a:spcAft>
              <a:buSzPts val="1400"/>
              <a:buChar char="●"/>
              <a:defRPr sz="1400"/>
            </a:lvl7pPr>
            <a:lvl8pPr marL="3657600" lvl="7" indent="-317500">
              <a:spcBef>
                <a:spcPts val="2100"/>
              </a:spcBef>
              <a:spcAft>
                <a:spcPts val="0"/>
              </a:spcAft>
              <a:buSzPts val="1400"/>
              <a:buChar char="○"/>
              <a:defRPr sz="1400"/>
            </a:lvl8pPr>
            <a:lvl9pPr marL="4114800" lvl="8" indent="-317500">
              <a:spcBef>
                <a:spcPts val="2100"/>
              </a:spcBef>
              <a:spcAft>
                <a:spcPts val="2100"/>
              </a:spcAft>
              <a:buSzPts val="1400"/>
              <a:buChar char="■"/>
              <a:defRPr sz="1400"/>
            </a:lvl9pPr>
          </a:lstStyle>
          <a:p>
            <a:endParaRPr/>
          </a:p>
        </p:txBody>
      </p:sp>
      <p:sp>
        <p:nvSpPr>
          <p:cNvPr id="231" name="Google Shape;231;p12"/>
          <p:cNvSpPr txBox="1">
            <a:spLocks noGrp="1"/>
          </p:cNvSpPr>
          <p:nvPr>
            <p:ph type="body" idx="5"/>
          </p:nvPr>
        </p:nvSpPr>
        <p:spPr>
          <a:xfrm>
            <a:off x="5056200" y="3761388"/>
            <a:ext cx="6406800" cy="923400"/>
          </a:xfrm>
          <a:prstGeom prst="rect">
            <a:avLst/>
          </a:prstGeom>
        </p:spPr>
        <p:txBody>
          <a:bodyPr spcFirstLastPara="1" wrap="square" lIns="121900" tIns="121900" rIns="121900" bIns="121900" anchor="t" anchorCtr="0">
            <a:noAutofit/>
          </a:bodyPr>
          <a:lstStyle>
            <a:lvl1pPr marL="457200" lvl="0" indent="-317500">
              <a:spcBef>
                <a:spcPts val="0"/>
              </a:spcBef>
              <a:spcAft>
                <a:spcPts val="0"/>
              </a:spcAft>
              <a:buSzPts val="1400"/>
              <a:buChar char="●"/>
              <a:defRPr sz="1400"/>
            </a:lvl1pPr>
            <a:lvl2pPr marL="914400" lvl="1" indent="-317500">
              <a:spcBef>
                <a:spcPts val="2100"/>
              </a:spcBef>
              <a:spcAft>
                <a:spcPts val="0"/>
              </a:spcAft>
              <a:buSzPts val="1400"/>
              <a:buChar char="○"/>
              <a:defRPr sz="1400"/>
            </a:lvl2pPr>
            <a:lvl3pPr marL="1371600" lvl="2" indent="-317500">
              <a:spcBef>
                <a:spcPts val="2100"/>
              </a:spcBef>
              <a:spcAft>
                <a:spcPts val="0"/>
              </a:spcAft>
              <a:buSzPts val="1400"/>
              <a:buChar char="■"/>
              <a:defRPr sz="1400"/>
            </a:lvl3pPr>
            <a:lvl4pPr marL="1828800" lvl="3" indent="-317500">
              <a:spcBef>
                <a:spcPts val="2100"/>
              </a:spcBef>
              <a:spcAft>
                <a:spcPts val="0"/>
              </a:spcAft>
              <a:buSzPts val="1400"/>
              <a:buChar char="●"/>
              <a:defRPr sz="1400"/>
            </a:lvl4pPr>
            <a:lvl5pPr marL="2286000" lvl="4" indent="-317500">
              <a:spcBef>
                <a:spcPts val="2100"/>
              </a:spcBef>
              <a:spcAft>
                <a:spcPts val="0"/>
              </a:spcAft>
              <a:buSzPts val="1400"/>
              <a:buChar char="○"/>
              <a:defRPr sz="1400"/>
            </a:lvl5pPr>
            <a:lvl6pPr marL="2743200" lvl="5" indent="-317500">
              <a:spcBef>
                <a:spcPts val="2100"/>
              </a:spcBef>
              <a:spcAft>
                <a:spcPts val="0"/>
              </a:spcAft>
              <a:buSzPts val="1400"/>
              <a:buChar char="■"/>
              <a:defRPr sz="1400"/>
            </a:lvl6pPr>
            <a:lvl7pPr marL="3200400" lvl="6" indent="-317500">
              <a:spcBef>
                <a:spcPts val="2100"/>
              </a:spcBef>
              <a:spcAft>
                <a:spcPts val="0"/>
              </a:spcAft>
              <a:buSzPts val="1400"/>
              <a:buChar char="●"/>
              <a:defRPr sz="1400"/>
            </a:lvl7pPr>
            <a:lvl8pPr marL="3657600" lvl="7" indent="-317500">
              <a:spcBef>
                <a:spcPts val="2100"/>
              </a:spcBef>
              <a:spcAft>
                <a:spcPts val="0"/>
              </a:spcAft>
              <a:buSzPts val="1400"/>
              <a:buChar char="○"/>
              <a:defRPr sz="1400"/>
            </a:lvl8pPr>
            <a:lvl9pPr marL="4114800" lvl="8" indent="-317500">
              <a:spcBef>
                <a:spcPts val="2100"/>
              </a:spcBef>
              <a:spcAft>
                <a:spcPts val="2100"/>
              </a:spcAft>
              <a:buSzPts val="1400"/>
              <a:buChar char="■"/>
              <a:defRPr sz="1400"/>
            </a:lvl9pPr>
          </a:lstStyle>
          <a:p>
            <a:endParaRPr/>
          </a:p>
        </p:txBody>
      </p:sp>
      <p:sp>
        <p:nvSpPr>
          <p:cNvPr id="232" name="Google Shape;232;p12"/>
          <p:cNvSpPr txBox="1">
            <a:spLocks noGrp="1"/>
          </p:cNvSpPr>
          <p:nvPr>
            <p:ph type="body" idx="6"/>
          </p:nvPr>
        </p:nvSpPr>
        <p:spPr>
          <a:xfrm>
            <a:off x="5056200" y="5353050"/>
            <a:ext cx="6407700" cy="923400"/>
          </a:xfrm>
          <a:prstGeom prst="rect">
            <a:avLst/>
          </a:prstGeom>
        </p:spPr>
        <p:txBody>
          <a:bodyPr spcFirstLastPara="1" wrap="square" lIns="121900" tIns="121900" rIns="121900" bIns="121900" anchor="t" anchorCtr="0">
            <a:noAutofit/>
          </a:bodyPr>
          <a:lstStyle>
            <a:lvl1pPr marL="457200" lvl="0" indent="-317500">
              <a:spcBef>
                <a:spcPts val="0"/>
              </a:spcBef>
              <a:spcAft>
                <a:spcPts val="0"/>
              </a:spcAft>
              <a:buSzPts val="1400"/>
              <a:buChar char="●"/>
              <a:defRPr sz="1400"/>
            </a:lvl1pPr>
            <a:lvl2pPr marL="914400" lvl="1" indent="-317500">
              <a:spcBef>
                <a:spcPts val="2100"/>
              </a:spcBef>
              <a:spcAft>
                <a:spcPts val="0"/>
              </a:spcAft>
              <a:buSzPts val="1400"/>
              <a:buChar char="○"/>
              <a:defRPr sz="1400"/>
            </a:lvl2pPr>
            <a:lvl3pPr marL="1371600" lvl="2" indent="-317500">
              <a:spcBef>
                <a:spcPts val="2100"/>
              </a:spcBef>
              <a:spcAft>
                <a:spcPts val="0"/>
              </a:spcAft>
              <a:buSzPts val="1400"/>
              <a:buChar char="■"/>
              <a:defRPr sz="1400"/>
            </a:lvl3pPr>
            <a:lvl4pPr marL="1828800" lvl="3" indent="-317500">
              <a:spcBef>
                <a:spcPts val="2100"/>
              </a:spcBef>
              <a:spcAft>
                <a:spcPts val="0"/>
              </a:spcAft>
              <a:buSzPts val="1400"/>
              <a:buChar char="●"/>
              <a:defRPr sz="1400"/>
            </a:lvl4pPr>
            <a:lvl5pPr marL="2286000" lvl="4" indent="-317500">
              <a:spcBef>
                <a:spcPts val="2100"/>
              </a:spcBef>
              <a:spcAft>
                <a:spcPts val="0"/>
              </a:spcAft>
              <a:buSzPts val="1400"/>
              <a:buChar char="○"/>
              <a:defRPr sz="1400"/>
            </a:lvl5pPr>
            <a:lvl6pPr marL="2743200" lvl="5" indent="-317500">
              <a:spcBef>
                <a:spcPts val="2100"/>
              </a:spcBef>
              <a:spcAft>
                <a:spcPts val="0"/>
              </a:spcAft>
              <a:buSzPts val="1400"/>
              <a:buChar char="■"/>
              <a:defRPr sz="1400"/>
            </a:lvl6pPr>
            <a:lvl7pPr marL="3200400" lvl="6" indent="-317500">
              <a:spcBef>
                <a:spcPts val="2100"/>
              </a:spcBef>
              <a:spcAft>
                <a:spcPts val="0"/>
              </a:spcAft>
              <a:buSzPts val="1400"/>
              <a:buChar char="●"/>
              <a:defRPr sz="1400"/>
            </a:lvl7pPr>
            <a:lvl8pPr marL="3657600" lvl="7" indent="-317500">
              <a:spcBef>
                <a:spcPts val="2100"/>
              </a:spcBef>
              <a:spcAft>
                <a:spcPts val="0"/>
              </a:spcAft>
              <a:buSzPts val="1400"/>
              <a:buChar char="○"/>
              <a:defRPr sz="1400"/>
            </a:lvl8pPr>
            <a:lvl9pPr marL="4114800" lvl="8" indent="-317500">
              <a:spcBef>
                <a:spcPts val="2100"/>
              </a:spcBef>
              <a:spcAft>
                <a:spcPts val="2100"/>
              </a:spcAft>
              <a:buSzPts val="1400"/>
              <a:buChar char="■"/>
              <a:defRPr sz="1400"/>
            </a:lvl9pPr>
          </a:lstStyle>
          <a:p>
            <a:endParaRPr/>
          </a:p>
        </p:txBody>
      </p:sp>
    </p:spTree>
    <p:extLst>
      <p:ext uri="{BB962C8B-B14F-4D97-AF65-F5344CB8AC3E}">
        <p14:creationId xmlns:p14="http://schemas.microsoft.com/office/powerpoint/2010/main" val="5499754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008 Three columns 1">
  <p:cSld name="008 Three columns 1">
    <p:spTree>
      <p:nvGrpSpPr>
        <p:cNvPr id="1" name="Shape 233"/>
        <p:cNvGrpSpPr/>
        <p:nvPr/>
      </p:nvGrpSpPr>
      <p:grpSpPr>
        <a:xfrm>
          <a:off x="0" y="0"/>
          <a:ext cx="0" cy="0"/>
          <a:chOff x="0" y="0"/>
          <a:chExt cx="0" cy="0"/>
        </a:xfrm>
      </p:grpSpPr>
      <p:pic>
        <p:nvPicPr>
          <p:cNvPr id="234" name="Google Shape;234;p13"/>
          <p:cNvPicPr preferRelativeResize="0"/>
          <p:nvPr/>
        </p:nvPicPr>
        <p:blipFill rotWithShape="1">
          <a:blip r:embed="rId2">
            <a:alphaModFix/>
          </a:blip>
          <a:srcRect l="48355" t="13223" r="32154" b="46215"/>
          <a:stretch/>
        </p:blipFill>
        <p:spPr>
          <a:xfrm>
            <a:off x="0" y="192675"/>
            <a:ext cx="4556313" cy="6472648"/>
          </a:xfrm>
          <a:custGeom>
            <a:avLst/>
            <a:gdLst/>
            <a:ahLst/>
            <a:cxnLst/>
            <a:rect l="l" t="t" r="r" b="b"/>
            <a:pathLst>
              <a:path w="4556313" h="6472648" extrusionOk="0">
                <a:moveTo>
                  <a:pt x="2223295" y="6061251"/>
                </a:moveTo>
                <a:lnTo>
                  <a:pt x="2206868" y="6089401"/>
                </a:lnTo>
                <a:lnTo>
                  <a:pt x="2206870" y="6089400"/>
                </a:lnTo>
                <a:lnTo>
                  <a:pt x="2223297" y="6061251"/>
                </a:lnTo>
                <a:close/>
                <a:moveTo>
                  <a:pt x="2253793" y="5919210"/>
                </a:moveTo>
                <a:lnTo>
                  <a:pt x="2216316" y="5937188"/>
                </a:lnTo>
                <a:lnTo>
                  <a:pt x="2170626" y="5973339"/>
                </a:lnTo>
                <a:lnTo>
                  <a:pt x="2170624" y="5973340"/>
                </a:lnTo>
                <a:lnTo>
                  <a:pt x="2216314" y="5937189"/>
                </a:lnTo>
                <a:lnTo>
                  <a:pt x="2253790" y="5919213"/>
                </a:lnTo>
                <a:lnTo>
                  <a:pt x="2287775" y="5947364"/>
                </a:lnTo>
                <a:lnTo>
                  <a:pt x="2312316" y="5974429"/>
                </a:lnTo>
                <a:lnTo>
                  <a:pt x="2284285" y="6018383"/>
                </a:lnTo>
                <a:lnTo>
                  <a:pt x="2268987" y="6047718"/>
                </a:lnTo>
                <a:lnTo>
                  <a:pt x="2268989" y="6047717"/>
                </a:lnTo>
                <a:lnTo>
                  <a:pt x="2284288" y="6018381"/>
                </a:lnTo>
                <a:lnTo>
                  <a:pt x="2312319" y="5974426"/>
                </a:lnTo>
                <a:lnTo>
                  <a:pt x="2287778" y="5947361"/>
                </a:lnTo>
                <a:close/>
                <a:moveTo>
                  <a:pt x="2438918" y="5717432"/>
                </a:moveTo>
                <a:lnTo>
                  <a:pt x="2436557" y="5749020"/>
                </a:lnTo>
                <a:lnTo>
                  <a:pt x="2481036" y="5798513"/>
                </a:lnTo>
                <a:lnTo>
                  <a:pt x="2437788" y="5749023"/>
                </a:lnTo>
                <a:close/>
                <a:moveTo>
                  <a:pt x="2534913" y="5668867"/>
                </a:moveTo>
                <a:lnTo>
                  <a:pt x="2535022" y="5668915"/>
                </a:lnTo>
                <a:lnTo>
                  <a:pt x="2535022" y="5668913"/>
                </a:lnTo>
                <a:close/>
                <a:moveTo>
                  <a:pt x="2495185" y="5652022"/>
                </a:moveTo>
                <a:lnTo>
                  <a:pt x="2471775" y="5658839"/>
                </a:lnTo>
                <a:lnTo>
                  <a:pt x="2462329" y="5683631"/>
                </a:lnTo>
                <a:lnTo>
                  <a:pt x="2438919" y="5717413"/>
                </a:lnTo>
                <a:lnTo>
                  <a:pt x="2462329" y="5683632"/>
                </a:lnTo>
                <a:lnTo>
                  <a:pt x="2472905" y="5658839"/>
                </a:lnTo>
                <a:lnTo>
                  <a:pt x="2495647" y="5652219"/>
                </a:lnTo>
                <a:close/>
                <a:moveTo>
                  <a:pt x="2458834" y="5337523"/>
                </a:moveTo>
                <a:lnTo>
                  <a:pt x="2458775" y="5337547"/>
                </a:lnTo>
                <a:lnTo>
                  <a:pt x="2458835" y="5337523"/>
                </a:lnTo>
                <a:close/>
                <a:moveTo>
                  <a:pt x="2393348" y="5333030"/>
                </a:moveTo>
                <a:lnTo>
                  <a:pt x="2430705" y="5348783"/>
                </a:lnTo>
                <a:lnTo>
                  <a:pt x="2431323" y="5348536"/>
                </a:lnTo>
                <a:close/>
                <a:moveTo>
                  <a:pt x="1672541" y="5308185"/>
                </a:moveTo>
                <a:lnTo>
                  <a:pt x="1592864" y="5310457"/>
                </a:lnTo>
                <a:lnTo>
                  <a:pt x="1584752" y="5570829"/>
                </a:lnTo>
                <a:lnTo>
                  <a:pt x="1568323" y="5903406"/>
                </a:lnTo>
                <a:lnTo>
                  <a:pt x="1495629" y="5948546"/>
                </a:lnTo>
                <a:lnTo>
                  <a:pt x="1452300" y="5956349"/>
                </a:lnTo>
                <a:lnTo>
                  <a:pt x="1404247" y="5939459"/>
                </a:lnTo>
                <a:lnTo>
                  <a:pt x="1452300" y="5956350"/>
                </a:lnTo>
                <a:lnTo>
                  <a:pt x="1495629" y="5948547"/>
                </a:lnTo>
                <a:lnTo>
                  <a:pt x="1568325" y="5903406"/>
                </a:lnTo>
                <a:lnTo>
                  <a:pt x="1584752" y="5570833"/>
                </a:lnTo>
                <a:lnTo>
                  <a:pt x="1594096" y="5310461"/>
                </a:lnTo>
                <a:lnTo>
                  <a:pt x="1672541" y="5308190"/>
                </a:lnTo>
                <a:close/>
                <a:moveTo>
                  <a:pt x="2250299" y="5277764"/>
                </a:moveTo>
                <a:lnTo>
                  <a:pt x="2250301" y="5277767"/>
                </a:lnTo>
                <a:lnTo>
                  <a:pt x="2311188" y="5291299"/>
                </a:lnTo>
                <a:lnTo>
                  <a:pt x="2361602" y="5331896"/>
                </a:lnTo>
                <a:lnTo>
                  <a:pt x="2361540" y="5331931"/>
                </a:lnTo>
                <a:lnTo>
                  <a:pt x="2393121" y="5332976"/>
                </a:lnTo>
                <a:lnTo>
                  <a:pt x="2361599" y="5331893"/>
                </a:lnTo>
                <a:lnTo>
                  <a:pt x="2311185" y="5291296"/>
                </a:lnTo>
                <a:close/>
                <a:moveTo>
                  <a:pt x="2229110" y="5189843"/>
                </a:moveTo>
                <a:lnTo>
                  <a:pt x="2228089" y="5218330"/>
                </a:lnTo>
                <a:lnTo>
                  <a:pt x="2229147" y="5189855"/>
                </a:lnTo>
                <a:close/>
                <a:moveTo>
                  <a:pt x="2195162" y="5179681"/>
                </a:moveTo>
                <a:lnTo>
                  <a:pt x="2195163" y="5179683"/>
                </a:lnTo>
                <a:lnTo>
                  <a:pt x="2195203" y="5179693"/>
                </a:lnTo>
                <a:close/>
                <a:moveTo>
                  <a:pt x="2628790" y="5091548"/>
                </a:moveTo>
                <a:lnTo>
                  <a:pt x="2628763" y="5091770"/>
                </a:lnTo>
                <a:lnTo>
                  <a:pt x="2640468" y="5118835"/>
                </a:lnTo>
                <a:lnTo>
                  <a:pt x="2628763" y="5170692"/>
                </a:lnTo>
                <a:lnTo>
                  <a:pt x="2615825" y="5179680"/>
                </a:lnTo>
                <a:lnTo>
                  <a:pt x="2592415" y="5243984"/>
                </a:lnTo>
                <a:lnTo>
                  <a:pt x="2592025" y="5244422"/>
                </a:lnTo>
                <a:lnTo>
                  <a:pt x="2592418" y="5243985"/>
                </a:lnTo>
                <a:lnTo>
                  <a:pt x="2615830" y="5179683"/>
                </a:lnTo>
                <a:lnTo>
                  <a:pt x="2628766" y="5170694"/>
                </a:lnTo>
                <a:lnTo>
                  <a:pt x="2640471" y="5118836"/>
                </a:lnTo>
                <a:lnTo>
                  <a:pt x="2628766" y="5091772"/>
                </a:lnTo>
                <a:close/>
                <a:moveTo>
                  <a:pt x="2655830" y="4959295"/>
                </a:moveTo>
                <a:lnTo>
                  <a:pt x="2655663" y="4963265"/>
                </a:lnTo>
                <a:lnTo>
                  <a:pt x="2649967" y="4982174"/>
                </a:lnTo>
                <a:lnTo>
                  <a:pt x="2655668" y="4964450"/>
                </a:lnTo>
                <a:close/>
                <a:moveTo>
                  <a:pt x="2130749" y="4950913"/>
                </a:moveTo>
                <a:lnTo>
                  <a:pt x="2130782" y="4950917"/>
                </a:lnTo>
                <a:lnTo>
                  <a:pt x="2156555" y="4960992"/>
                </a:lnTo>
                <a:lnTo>
                  <a:pt x="2156558" y="4960992"/>
                </a:lnTo>
                <a:lnTo>
                  <a:pt x="2130787" y="4950917"/>
                </a:lnTo>
                <a:close/>
                <a:moveTo>
                  <a:pt x="2025338" y="4934025"/>
                </a:moveTo>
                <a:lnTo>
                  <a:pt x="1978414" y="4955360"/>
                </a:lnTo>
                <a:lnTo>
                  <a:pt x="1955005" y="4955360"/>
                </a:lnTo>
                <a:lnTo>
                  <a:pt x="1901099" y="4990326"/>
                </a:lnTo>
                <a:lnTo>
                  <a:pt x="1871836" y="4954274"/>
                </a:lnTo>
                <a:lnTo>
                  <a:pt x="1745235" y="4984697"/>
                </a:lnTo>
                <a:lnTo>
                  <a:pt x="1685478" y="4988055"/>
                </a:lnTo>
                <a:lnTo>
                  <a:pt x="1681201" y="5093900"/>
                </a:lnTo>
                <a:lnTo>
                  <a:pt x="1685478" y="4988058"/>
                </a:lnTo>
                <a:lnTo>
                  <a:pt x="1746365" y="4984700"/>
                </a:lnTo>
                <a:lnTo>
                  <a:pt x="1871836" y="4954277"/>
                </a:lnTo>
                <a:lnTo>
                  <a:pt x="1901099" y="4990331"/>
                </a:lnTo>
                <a:lnTo>
                  <a:pt x="1955003" y="4955364"/>
                </a:lnTo>
                <a:lnTo>
                  <a:pt x="1978413" y="4955364"/>
                </a:lnTo>
                <a:lnTo>
                  <a:pt x="2025336" y="4934028"/>
                </a:lnTo>
                <a:lnTo>
                  <a:pt x="2040533" y="4941831"/>
                </a:lnTo>
                <a:lnTo>
                  <a:pt x="2068520" y="5012481"/>
                </a:lnTo>
                <a:lnTo>
                  <a:pt x="2040971" y="4941875"/>
                </a:lnTo>
                <a:lnTo>
                  <a:pt x="2040533" y="4941830"/>
                </a:lnTo>
                <a:lnTo>
                  <a:pt x="2025338" y="4934026"/>
                </a:lnTo>
                <a:close/>
                <a:moveTo>
                  <a:pt x="1030504" y="4870811"/>
                </a:moveTo>
                <a:lnTo>
                  <a:pt x="982844" y="4885408"/>
                </a:lnTo>
                <a:lnTo>
                  <a:pt x="1031546" y="4870834"/>
                </a:lnTo>
                <a:close/>
                <a:moveTo>
                  <a:pt x="2901784" y="4776185"/>
                </a:moveTo>
                <a:lnTo>
                  <a:pt x="2865436" y="4794162"/>
                </a:lnTo>
                <a:lnTo>
                  <a:pt x="2837303" y="4858464"/>
                </a:lnTo>
                <a:lnTo>
                  <a:pt x="2837303" y="4858465"/>
                </a:lnTo>
                <a:lnTo>
                  <a:pt x="2865436" y="4795347"/>
                </a:lnTo>
                <a:close/>
                <a:moveTo>
                  <a:pt x="2526809" y="4773914"/>
                </a:moveTo>
                <a:lnTo>
                  <a:pt x="2564282" y="4791988"/>
                </a:lnTo>
                <a:lnTo>
                  <a:pt x="2580710" y="4814508"/>
                </a:lnTo>
                <a:lnTo>
                  <a:pt x="2580714" y="4814510"/>
                </a:lnTo>
                <a:lnTo>
                  <a:pt x="2564285" y="4791989"/>
                </a:lnTo>
                <a:close/>
                <a:moveTo>
                  <a:pt x="2455342" y="4741218"/>
                </a:moveTo>
                <a:lnTo>
                  <a:pt x="2458834" y="4774999"/>
                </a:lnTo>
                <a:lnTo>
                  <a:pt x="2458837" y="4774999"/>
                </a:lnTo>
                <a:lnTo>
                  <a:pt x="2455345" y="4741218"/>
                </a:lnTo>
                <a:close/>
                <a:moveTo>
                  <a:pt x="2784665" y="4738870"/>
                </a:moveTo>
                <a:lnTo>
                  <a:pt x="2784630" y="4738947"/>
                </a:lnTo>
                <a:lnTo>
                  <a:pt x="2786822" y="4800206"/>
                </a:lnTo>
                <a:close/>
                <a:moveTo>
                  <a:pt x="2768201" y="4638689"/>
                </a:moveTo>
                <a:lnTo>
                  <a:pt x="2744790" y="4646492"/>
                </a:lnTo>
                <a:lnTo>
                  <a:pt x="2744791" y="4646494"/>
                </a:lnTo>
                <a:lnTo>
                  <a:pt x="2768201" y="4638690"/>
                </a:lnTo>
                <a:close/>
                <a:moveTo>
                  <a:pt x="2882711" y="4625595"/>
                </a:moveTo>
                <a:lnTo>
                  <a:pt x="2900551" y="4661209"/>
                </a:lnTo>
                <a:lnTo>
                  <a:pt x="2901771" y="4775065"/>
                </a:lnTo>
                <a:lnTo>
                  <a:pt x="2900552" y="4661211"/>
                </a:lnTo>
                <a:close/>
                <a:moveTo>
                  <a:pt x="2701357" y="4604809"/>
                </a:moveTo>
                <a:lnTo>
                  <a:pt x="2450624" y="4678099"/>
                </a:lnTo>
                <a:lnTo>
                  <a:pt x="2450624" y="4678101"/>
                </a:lnTo>
                <a:lnTo>
                  <a:pt x="2701358" y="4604809"/>
                </a:lnTo>
                <a:close/>
                <a:moveTo>
                  <a:pt x="2658365" y="4580210"/>
                </a:moveTo>
                <a:lnTo>
                  <a:pt x="2658031" y="4581200"/>
                </a:lnTo>
                <a:lnTo>
                  <a:pt x="2701266" y="4604755"/>
                </a:lnTo>
                <a:close/>
                <a:moveTo>
                  <a:pt x="1782711" y="4507911"/>
                </a:moveTo>
                <a:lnTo>
                  <a:pt x="1771006" y="4793075"/>
                </a:lnTo>
                <a:lnTo>
                  <a:pt x="1823781" y="4866366"/>
                </a:lnTo>
                <a:lnTo>
                  <a:pt x="1874093" y="4922669"/>
                </a:lnTo>
                <a:lnTo>
                  <a:pt x="1725466" y="4958511"/>
                </a:lnTo>
                <a:lnTo>
                  <a:pt x="1875326" y="4922666"/>
                </a:lnTo>
                <a:lnTo>
                  <a:pt x="1823783" y="4866366"/>
                </a:lnTo>
                <a:lnTo>
                  <a:pt x="1771008" y="4793075"/>
                </a:lnTo>
                <a:lnTo>
                  <a:pt x="1782713" y="4507911"/>
                </a:lnTo>
                <a:close/>
                <a:moveTo>
                  <a:pt x="2410786" y="4442520"/>
                </a:moveTo>
                <a:lnTo>
                  <a:pt x="2410784" y="4442522"/>
                </a:lnTo>
                <a:lnTo>
                  <a:pt x="2415506" y="4539417"/>
                </a:lnTo>
                <a:lnTo>
                  <a:pt x="2352260" y="4539417"/>
                </a:lnTo>
                <a:lnTo>
                  <a:pt x="2352260" y="4539419"/>
                </a:lnTo>
                <a:lnTo>
                  <a:pt x="2415508" y="4539419"/>
                </a:lnTo>
                <a:close/>
                <a:moveTo>
                  <a:pt x="4013767" y="4431261"/>
                </a:moveTo>
                <a:lnTo>
                  <a:pt x="4039538" y="4469586"/>
                </a:lnTo>
                <a:lnTo>
                  <a:pt x="4060587" y="4506726"/>
                </a:lnTo>
                <a:lnTo>
                  <a:pt x="4075886" y="4566485"/>
                </a:lnTo>
                <a:lnTo>
                  <a:pt x="4082869" y="4674742"/>
                </a:lnTo>
                <a:lnTo>
                  <a:pt x="4102786" y="4716425"/>
                </a:lnTo>
                <a:lnTo>
                  <a:pt x="4091081" y="4759294"/>
                </a:lnTo>
                <a:lnTo>
                  <a:pt x="4074654" y="4786358"/>
                </a:lnTo>
                <a:lnTo>
                  <a:pt x="4051243" y="4733316"/>
                </a:lnTo>
                <a:lnTo>
                  <a:pt x="4033686" y="4759294"/>
                </a:lnTo>
                <a:lnTo>
                  <a:pt x="4045391" y="4825770"/>
                </a:lnTo>
                <a:lnTo>
                  <a:pt x="4034816" y="4864095"/>
                </a:lnTo>
                <a:lnTo>
                  <a:pt x="4011404" y="4885530"/>
                </a:lnTo>
                <a:lnTo>
                  <a:pt x="3999699" y="4960993"/>
                </a:lnTo>
                <a:lnTo>
                  <a:pt x="3959861" y="5065893"/>
                </a:lnTo>
                <a:lnTo>
                  <a:pt x="3911810" y="5189856"/>
                </a:lnTo>
                <a:lnTo>
                  <a:pt x="3848560" y="5358959"/>
                </a:lnTo>
                <a:lnTo>
                  <a:pt x="3807490" y="5484108"/>
                </a:lnTo>
                <a:lnTo>
                  <a:pt x="3763031" y="5587822"/>
                </a:lnTo>
                <a:lnTo>
                  <a:pt x="3695059" y="5609157"/>
                </a:lnTo>
                <a:lnTo>
                  <a:pt x="3622365" y="5647481"/>
                </a:lnTo>
                <a:lnTo>
                  <a:pt x="3577905" y="5623874"/>
                </a:lnTo>
                <a:lnTo>
                  <a:pt x="3516916" y="5591180"/>
                </a:lnTo>
                <a:lnTo>
                  <a:pt x="3499359" y="5544953"/>
                </a:lnTo>
                <a:lnTo>
                  <a:pt x="3500489" y="5463760"/>
                </a:lnTo>
                <a:lnTo>
                  <a:pt x="3477077" y="5393926"/>
                </a:lnTo>
                <a:lnTo>
                  <a:pt x="3473587" y="5328537"/>
                </a:lnTo>
                <a:lnTo>
                  <a:pt x="3493506" y="5264234"/>
                </a:lnTo>
                <a:lnTo>
                  <a:pt x="3530983" y="5248529"/>
                </a:lnTo>
                <a:lnTo>
                  <a:pt x="3534474" y="5219192"/>
                </a:lnTo>
                <a:lnTo>
                  <a:pt x="3576673" y="5151531"/>
                </a:lnTo>
                <a:lnTo>
                  <a:pt x="3588378" y="5094044"/>
                </a:lnTo>
                <a:lnTo>
                  <a:pt x="3572054" y="5051176"/>
                </a:lnTo>
                <a:lnTo>
                  <a:pt x="3560246" y="4994873"/>
                </a:lnTo>
                <a:lnTo>
                  <a:pt x="3559117" y="4911408"/>
                </a:lnTo>
                <a:lnTo>
                  <a:pt x="3591973" y="4863008"/>
                </a:lnTo>
                <a:lnTo>
                  <a:pt x="3606039" y="4804336"/>
                </a:lnTo>
                <a:lnTo>
                  <a:pt x="3647007" y="4802064"/>
                </a:lnTo>
                <a:lnTo>
                  <a:pt x="3692698" y="4784087"/>
                </a:lnTo>
                <a:lnTo>
                  <a:pt x="3724322" y="4766012"/>
                </a:lnTo>
                <a:lnTo>
                  <a:pt x="3759541" y="4766012"/>
                </a:lnTo>
                <a:lnTo>
                  <a:pt x="3809851" y="4714154"/>
                </a:lnTo>
                <a:lnTo>
                  <a:pt x="3880184" y="4658938"/>
                </a:lnTo>
                <a:lnTo>
                  <a:pt x="3905957" y="4613897"/>
                </a:lnTo>
                <a:lnTo>
                  <a:pt x="3897742" y="4576659"/>
                </a:lnTo>
                <a:lnTo>
                  <a:pt x="3931729" y="4587920"/>
                </a:lnTo>
                <a:lnTo>
                  <a:pt x="3979780" y="4523715"/>
                </a:lnTo>
                <a:lnTo>
                  <a:pt x="3984504" y="4470673"/>
                </a:lnTo>
                <a:close/>
                <a:moveTo>
                  <a:pt x="2211624" y="4391837"/>
                </a:moveTo>
                <a:lnTo>
                  <a:pt x="2229150" y="4440249"/>
                </a:lnTo>
                <a:lnTo>
                  <a:pt x="2292400" y="4451509"/>
                </a:lnTo>
                <a:lnTo>
                  <a:pt x="2321765" y="4491020"/>
                </a:lnTo>
                <a:lnTo>
                  <a:pt x="2352234" y="4539377"/>
                </a:lnTo>
                <a:lnTo>
                  <a:pt x="2321764" y="4489832"/>
                </a:lnTo>
                <a:lnTo>
                  <a:pt x="2292398" y="4450421"/>
                </a:lnTo>
                <a:lnTo>
                  <a:pt x="2229148" y="4439160"/>
                </a:lnTo>
                <a:close/>
                <a:moveTo>
                  <a:pt x="2211592" y="4391748"/>
                </a:moveTo>
                <a:lnTo>
                  <a:pt x="2162410" y="4419998"/>
                </a:lnTo>
                <a:lnTo>
                  <a:pt x="2095567" y="4407552"/>
                </a:lnTo>
                <a:lnTo>
                  <a:pt x="2095569" y="4407554"/>
                </a:lnTo>
                <a:lnTo>
                  <a:pt x="2162411" y="4420000"/>
                </a:lnTo>
                <a:lnTo>
                  <a:pt x="2211592" y="4391749"/>
                </a:lnTo>
                <a:close/>
                <a:moveTo>
                  <a:pt x="3085779" y="4362513"/>
                </a:moveTo>
                <a:lnTo>
                  <a:pt x="3055285" y="4389479"/>
                </a:lnTo>
                <a:lnTo>
                  <a:pt x="2997888" y="4390664"/>
                </a:lnTo>
                <a:lnTo>
                  <a:pt x="2977969" y="4401924"/>
                </a:lnTo>
                <a:lnTo>
                  <a:pt x="2879502" y="4376045"/>
                </a:lnTo>
                <a:lnTo>
                  <a:pt x="2977970" y="4401926"/>
                </a:lnTo>
                <a:lnTo>
                  <a:pt x="2997890" y="4390665"/>
                </a:lnTo>
                <a:lnTo>
                  <a:pt x="3055285" y="4389479"/>
                </a:lnTo>
                <a:lnTo>
                  <a:pt x="3085781" y="4362514"/>
                </a:lnTo>
                <a:lnTo>
                  <a:pt x="3088244" y="4362569"/>
                </a:lnTo>
                <a:close/>
                <a:moveTo>
                  <a:pt x="1823783" y="4336533"/>
                </a:moveTo>
                <a:lnTo>
                  <a:pt x="1802630" y="4345521"/>
                </a:lnTo>
                <a:lnTo>
                  <a:pt x="1802630" y="4345522"/>
                </a:lnTo>
                <a:lnTo>
                  <a:pt x="1823781" y="4336535"/>
                </a:lnTo>
                <a:lnTo>
                  <a:pt x="1858897" y="4339893"/>
                </a:lnTo>
                <a:lnTo>
                  <a:pt x="1859126" y="4339826"/>
                </a:lnTo>
                <a:lnTo>
                  <a:pt x="1858897" y="4339892"/>
                </a:lnTo>
                <a:close/>
                <a:moveTo>
                  <a:pt x="1910441" y="4325273"/>
                </a:moveTo>
                <a:lnTo>
                  <a:pt x="1910054" y="4325382"/>
                </a:lnTo>
                <a:lnTo>
                  <a:pt x="1947918" y="4330904"/>
                </a:lnTo>
                <a:lnTo>
                  <a:pt x="1955003" y="4359055"/>
                </a:lnTo>
                <a:lnTo>
                  <a:pt x="1944426" y="4401924"/>
                </a:lnTo>
                <a:lnTo>
                  <a:pt x="1958494" y="4443607"/>
                </a:lnTo>
                <a:lnTo>
                  <a:pt x="1944426" y="4477487"/>
                </a:lnTo>
                <a:lnTo>
                  <a:pt x="1952640" y="4508996"/>
                </a:lnTo>
                <a:lnTo>
                  <a:pt x="1952642" y="4508996"/>
                </a:lnTo>
                <a:lnTo>
                  <a:pt x="1945559" y="4477487"/>
                </a:lnTo>
                <a:lnTo>
                  <a:pt x="1958495" y="4443607"/>
                </a:lnTo>
                <a:lnTo>
                  <a:pt x="1945559" y="4401924"/>
                </a:lnTo>
                <a:lnTo>
                  <a:pt x="1955005" y="4359055"/>
                </a:lnTo>
                <a:lnTo>
                  <a:pt x="1947920" y="4330904"/>
                </a:lnTo>
                <a:lnTo>
                  <a:pt x="1976053" y="4333177"/>
                </a:lnTo>
                <a:lnTo>
                  <a:pt x="1980776" y="4361327"/>
                </a:lnTo>
                <a:lnTo>
                  <a:pt x="2018253" y="4359055"/>
                </a:lnTo>
                <a:lnTo>
                  <a:pt x="2069796" y="4368143"/>
                </a:lnTo>
                <a:lnTo>
                  <a:pt x="2069795" y="4368142"/>
                </a:lnTo>
                <a:lnTo>
                  <a:pt x="2018251" y="4359054"/>
                </a:lnTo>
                <a:lnTo>
                  <a:pt x="1980774" y="4360240"/>
                </a:lnTo>
                <a:lnTo>
                  <a:pt x="1976052" y="4331990"/>
                </a:lnTo>
                <a:lnTo>
                  <a:pt x="1947918" y="4330903"/>
                </a:lnTo>
                <a:close/>
                <a:moveTo>
                  <a:pt x="1782711" y="4205755"/>
                </a:moveTo>
                <a:lnTo>
                  <a:pt x="1809715" y="4238450"/>
                </a:lnTo>
                <a:lnTo>
                  <a:pt x="1802632" y="4345512"/>
                </a:lnTo>
                <a:lnTo>
                  <a:pt x="1810845" y="4238449"/>
                </a:lnTo>
                <a:close/>
                <a:moveTo>
                  <a:pt x="2777545" y="4203484"/>
                </a:moveTo>
                <a:lnTo>
                  <a:pt x="2770564" y="4220474"/>
                </a:lnTo>
                <a:lnTo>
                  <a:pt x="2770362" y="4220149"/>
                </a:lnTo>
                <a:lnTo>
                  <a:pt x="2768201" y="4229463"/>
                </a:lnTo>
                <a:lnTo>
                  <a:pt x="2796335" y="4288037"/>
                </a:lnTo>
                <a:lnTo>
                  <a:pt x="2797464" y="4396295"/>
                </a:lnTo>
                <a:lnTo>
                  <a:pt x="2772821" y="4445880"/>
                </a:lnTo>
                <a:lnTo>
                  <a:pt x="2793972" y="4511269"/>
                </a:lnTo>
                <a:lnTo>
                  <a:pt x="2792740" y="4550680"/>
                </a:lnTo>
                <a:lnTo>
                  <a:pt x="2810401" y="4577745"/>
                </a:lnTo>
                <a:lnTo>
                  <a:pt x="2809169" y="4610439"/>
                </a:lnTo>
                <a:lnTo>
                  <a:pt x="2820874" y="4629603"/>
                </a:lnTo>
                <a:lnTo>
                  <a:pt x="2834941" y="4607081"/>
                </a:lnTo>
                <a:lnTo>
                  <a:pt x="2863075" y="4642047"/>
                </a:lnTo>
                <a:lnTo>
                  <a:pt x="2866566" y="4630787"/>
                </a:lnTo>
                <a:lnTo>
                  <a:pt x="2851369" y="4583374"/>
                </a:lnTo>
                <a:lnTo>
                  <a:pt x="2836173" y="4578931"/>
                </a:lnTo>
                <a:lnTo>
                  <a:pt x="2836173" y="4567669"/>
                </a:lnTo>
                <a:lnTo>
                  <a:pt x="2825598" y="4465043"/>
                </a:lnTo>
                <a:lnTo>
                  <a:pt x="2849007" y="4380491"/>
                </a:lnTo>
                <a:lnTo>
                  <a:pt x="2849007" y="4379404"/>
                </a:lnTo>
                <a:lnTo>
                  <a:pt x="2822107" y="4345524"/>
                </a:lnTo>
                <a:lnTo>
                  <a:pt x="2818617" y="4250897"/>
                </a:lnTo>
                <a:close/>
                <a:moveTo>
                  <a:pt x="2675589" y="4178692"/>
                </a:moveTo>
                <a:lnTo>
                  <a:pt x="2675591" y="4178694"/>
                </a:lnTo>
                <a:lnTo>
                  <a:pt x="2755263" y="4195682"/>
                </a:lnTo>
                <a:lnTo>
                  <a:pt x="2755306" y="4195748"/>
                </a:lnTo>
                <a:lnTo>
                  <a:pt x="2755265" y="4195681"/>
                </a:lnTo>
                <a:close/>
                <a:moveTo>
                  <a:pt x="1773367" y="4062630"/>
                </a:moveTo>
                <a:lnTo>
                  <a:pt x="1790925" y="4096412"/>
                </a:lnTo>
                <a:lnTo>
                  <a:pt x="1790925" y="4096410"/>
                </a:lnTo>
                <a:close/>
                <a:moveTo>
                  <a:pt x="1673773" y="4006228"/>
                </a:moveTo>
                <a:lnTo>
                  <a:pt x="1673771" y="4006229"/>
                </a:lnTo>
                <a:lnTo>
                  <a:pt x="1773367" y="4006229"/>
                </a:lnTo>
                <a:lnTo>
                  <a:pt x="1773367" y="4006228"/>
                </a:lnTo>
                <a:close/>
                <a:moveTo>
                  <a:pt x="1584751" y="3992696"/>
                </a:moveTo>
                <a:lnTo>
                  <a:pt x="1562470" y="4045739"/>
                </a:lnTo>
                <a:lnTo>
                  <a:pt x="1549534" y="4068259"/>
                </a:lnTo>
                <a:lnTo>
                  <a:pt x="1506203" y="4054727"/>
                </a:lnTo>
                <a:lnTo>
                  <a:pt x="1505725" y="4054957"/>
                </a:lnTo>
                <a:lnTo>
                  <a:pt x="1549534" y="4068260"/>
                </a:lnTo>
                <a:lnTo>
                  <a:pt x="1562470" y="4045740"/>
                </a:lnTo>
                <a:close/>
                <a:moveTo>
                  <a:pt x="1680754" y="3973534"/>
                </a:moveTo>
                <a:lnTo>
                  <a:pt x="1673773" y="4006224"/>
                </a:lnTo>
                <a:lnTo>
                  <a:pt x="1681986" y="3973534"/>
                </a:lnTo>
                <a:close/>
                <a:moveTo>
                  <a:pt x="1350340" y="3945383"/>
                </a:moveTo>
                <a:lnTo>
                  <a:pt x="1364808" y="3978101"/>
                </a:lnTo>
                <a:lnTo>
                  <a:pt x="1373751" y="3998327"/>
                </a:lnTo>
                <a:lnTo>
                  <a:pt x="1392541" y="4028849"/>
                </a:lnTo>
                <a:lnTo>
                  <a:pt x="1423036" y="4074977"/>
                </a:lnTo>
                <a:lnTo>
                  <a:pt x="1478071" y="4068260"/>
                </a:lnTo>
                <a:lnTo>
                  <a:pt x="1478113" y="4068239"/>
                </a:lnTo>
                <a:lnTo>
                  <a:pt x="1478069" y="4068259"/>
                </a:lnTo>
                <a:lnTo>
                  <a:pt x="1423036" y="4074975"/>
                </a:lnTo>
                <a:lnTo>
                  <a:pt x="1392541" y="4028847"/>
                </a:lnTo>
                <a:lnTo>
                  <a:pt x="1373751" y="3998326"/>
                </a:lnTo>
                <a:lnTo>
                  <a:pt x="1364808" y="3978101"/>
                </a:lnTo>
                <a:lnTo>
                  <a:pt x="1350341" y="3945384"/>
                </a:lnTo>
                <a:close/>
                <a:moveTo>
                  <a:pt x="4549228" y="3760477"/>
                </a:moveTo>
                <a:lnTo>
                  <a:pt x="4556313" y="3771836"/>
                </a:lnTo>
                <a:lnTo>
                  <a:pt x="4556313" y="3780825"/>
                </a:lnTo>
                <a:lnTo>
                  <a:pt x="4551589" y="3777467"/>
                </a:lnTo>
                <a:lnTo>
                  <a:pt x="4550460" y="3771836"/>
                </a:lnTo>
                <a:lnTo>
                  <a:pt x="4546969" y="3768379"/>
                </a:lnTo>
                <a:lnTo>
                  <a:pt x="4543375" y="3765021"/>
                </a:lnTo>
                <a:close/>
                <a:moveTo>
                  <a:pt x="1106590" y="3754845"/>
                </a:moveTo>
                <a:lnTo>
                  <a:pt x="1079771" y="3788620"/>
                </a:lnTo>
                <a:lnTo>
                  <a:pt x="1107791" y="3754877"/>
                </a:lnTo>
                <a:close/>
                <a:moveTo>
                  <a:pt x="1028143" y="3749215"/>
                </a:moveTo>
                <a:lnTo>
                  <a:pt x="1057405" y="3780824"/>
                </a:lnTo>
                <a:lnTo>
                  <a:pt x="1057405" y="3780822"/>
                </a:lnTo>
                <a:lnTo>
                  <a:pt x="1079685" y="3788724"/>
                </a:lnTo>
                <a:lnTo>
                  <a:pt x="1057408" y="3779638"/>
                </a:lnTo>
                <a:lnTo>
                  <a:pt x="1028145" y="3749215"/>
                </a:lnTo>
                <a:close/>
                <a:moveTo>
                  <a:pt x="1285735" y="3697471"/>
                </a:moveTo>
                <a:lnTo>
                  <a:pt x="1237912" y="3740226"/>
                </a:lnTo>
                <a:lnTo>
                  <a:pt x="1187499" y="3796628"/>
                </a:lnTo>
                <a:lnTo>
                  <a:pt x="1158133" y="3781911"/>
                </a:lnTo>
                <a:lnTo>
                  <a:pt x="1152280" y="3756031"/>
                </a:lnTo>
                <a:lnTo>
                  <a:pt x="1152278" y="3756031"/>
                </a:lnTo>
                <a:lnTo>
                  <a:pt x="1158130" y="3781909"/>
                </a:lnTo>
                <a:lnTo>
                  <a:pt x="1187495" y="3797713"/>
                </a:lnTo>
                <a:lnTo>
                  <a:pt x="1237909" y="3741312"/>
                </a:lnTo>
                <a:close/>
                <a:moveTo>
                  <a:pt x="2397950" y="3660217"/>
                </a:moveTo>
                <a:lnTo>
                  <a:pt x="2381521" y="3804529"/>
                </a:lnTo>
                <a:lnTo>
                  <a:pt x="2403802" y="3855200"/>
                </a:lnTo>
                <a:lnTo>
                  <a:pt x="2388504" y="3892438"/>
                </a:lnTo>
                <a:lnTo>
                  <a:pt x="2415506" y="3956643"/>
                </a:lnTo>
                <a:lnTo>
                  <a:pt x="2464689" y="4005141"/>
                </a:lnTo>
                <a:lnTo>
                  <a:pt x="2475264" y="4054727"/>
                </a:lnTo>
                <a:lnTo>
                  <a:pt x="2497546" y="4078432"/>
                </a:lnTo>
                <a:lnTo>
                  <a:pt x="2493952" y="4094138"/>
                </a:lnTo>
                <a:lnTo>
                  <a:pt x="2479886" y="4089694"/>
                </a:lnTo>
                <a:lnTo>
                  <a:pt x="2369816" y="4105497"/>
                </a:lnTo>
                <a:lnTo>
                  <a:pt x="2346303" y="4115573"/>
                </a:lnTo>
                <a:lnTo>
                  <a:pt x="2322893" y="4173060"/>
                </a:lnTo>
                <a:lnTo>
                  <a:pt x="2340451" y="4212570"/>
                </a:lnTo>
                <a:lnTo>
                  <a:pt x="2322893" y="4318556"/>
                </a:lnTo>
                <a:lnTo>
                  <a:pt x="2311188" y="4408639"/>
                </a:lnTo>
                <a:lnTo>
                  <a:pt x="2311190" y="4408640"/>
                </a:lnTo>
                <a:lnTo>
                  <a:pt x="2322895" y="4318557"/>
                </a:lnTo>
                <a:lnTo>
                  <a:pt x="2340453" y="4212572"/>
                </a:lnTo>
                <a:lnTo>
                  <a:pt x="2322895" y="4173061"/>
                </a:lnTo>
                <a:lnTo>
                  <a:pt x="2346304" y="4115574"/>
                </a:lnTo>
                <a:lnTo>
                  <a:pt x="2369818" y="4105498"/>
                </a:lnTo>
                <a:lnTo>
                  <a:pt x="2479887" y="4090781"/>
                </a:lnTo>
                <a:lnTo>
                  <a:pt x="2493953" y="4094139"/>
                </a:lnTo>
                <a:lnTo>
                  <a:pt x="2488102" y="4113400"/>
                </a:lnTo>
                <a:lnTo>
                  <a:pt x="2516235" y="4120118"/>
                </a:lnTo>
                <a:lnTo>
                  <a:pt x="2533792" y="4139280"/>
                </a:lnTo>
                <a:lnTo>
                  <a:pt x="2549091" y="4133650"/>
                </a:lnTo>
                <a:lnTo>
                  <a:pt x="2540877" y="4119031"/>
                </a:lnTo>
                <a:lnTo>
                  <a:pt x="2545596" y="4121202"/>
                </a:lnTo>
                <a:lnTo>
                  <a:pt x="2540877" y="4117845"/>
                </a:lnTo>
                <a:lnTo>
                  <a:pt x="2501038" y="4026578"/>
                </a:lnTo>
                <a:lnTo>
                  <a:pt x="2497548" y="3971362"/>
                </a:lnTo>
                <a:lnTo>
                  <a:pt x="2430705" y="3911602"/>
                </a:lnTo>
                <a:lnTo>
                  <a:pt x="2450624" y="3877722"/>
                </a:lnTo>
                <a:lnTo>
                  <a:pt x="2435427" y="3840583"/>
                </a:lnTo>
                <a:lnTo>
                  <a:pt x="2438919" y="3802259"/>
                </a:lnTo>
                <a:lnTo>
                  <a:pt x="2422491" y="3789813"/>
                </a:lnTo>
                <a:lnTo>
                  <a:pt x="2427213" y="3751487"/>
                </a:lnTo>
                <a:lnTo>
                  <a:pt x="2427516" y="3751447"/>
                </a:lnTo>
                <a:lnTo>
                  <a:pt x="2428341" y="3748131"/>
                </a:lnTo>
                <a:lnTo>
                  <a:pt x="2399078" y="3662493"/>
                </a:lnTo>
                <a:lnTo>
                  <a:pt x="2398987" y="3661215"/>
                </a:lnTo>
                <a:close/>
                <a:moveTo>
                  <a:pt x="1303627" y="3597117"/>
                </a:moveTo>
                <a:lnTo>
                  <a:pt x="1305782" y="3669206"/>
                </a:lnTo>
                <a:lnTo>
                  <a:pt x="1285914" y="3697285"/>
                </a:lnTo>
                <a:lnTo>
                  <a:pt x="1307011" y="3669206"/>
                </a:lnTo>
                <a:close/>
                <a:moveTo>
                  <a:pt x="962551" y="3576750"/>
                </a:moveTo>
                <a:lnTo>
                  <a:pt x="962532" y="3576753"/>
                </a:lnTo>
                <a:lnTo>
                  <a:pt x="934398" y="3599372"/>
                </a:lnTo>
                <a:lnTo>
                  <a:pt x="964791" y="3659033"/>
                </a:lnTo>
                <a:lnTo>
                  <a:pt x="964668" y="3659130"/>
                </a:lnTo>
                <a:lnTo>
                  <a:pt x="964793" y="3659033"/>
                </a:lnTo>
                <a:lnTo>
                  <a:pt x="934400" y="3599372"/>
                </a:lnTo>
                <a:lnTo>
                  <a:pt x="962534" y="3576753"/>
                </a:lnTo>
                <a:close/>
                <a:moveTo>
                  <a:pt x="2511863" y="3560879"/>
                </a:moveTo>
                <a:lnTo>
                  <a:pt x="2497546" y="3567765"/>
                </a:lnTo>
                <a:lnTo>
                  <a:pt x="2452984" y="3562134"/>
                </a:lnTo>
                <a:lnTo>
                  <a:pt x="2428341" y="3612806"/>
                </a:lnTo>
                <a:lnTo>
                  <a:pt x="2376799" y="3605003"/>
                </a:lnTo>
                <a:lnTo>
                  <a:pt x="2377390" y="3606168"/>
                </a:lnTo>
                <a:lnTo>
                  <a:pt x="2428341" y="3612809"/>
                </a:lnTo>
                <a:lnTo>
                  <a:pt x="2452984" y="3562137"/>
                </a:lnTo>
                <a:lnTo>
                  <a:pt x="2497546" y="3567767"/>
                </a:lnTo>
                <a:lnTo>
                  <a:pt x="2497552" y="3567823"/>
                </a:lnTo>
                <a:lnTo>
                  <a:pt x="2497548" y="3567765"/>
                </a:lnTo>
                <a:close/>
                <a:moveTo>
                  <a:pt x="2397948" y="3550873"/>
                </a:moveTo>
                <a:lnTo>
                  <a:pt x="2386141" y="3556503"/>
                </a:lnTo>
                <a:lnTo>
                  <a:pt x="2386141" y="3556505"/>
                </a:lnTo>
                <a:lnTo>
                  <a:pt x="2397948" y="3550874"/>
                </a:lnTo>
                <a:close/>
                <a:moveTo>
                  <a:pt x="1166463" y="3529925"/>
                </a:moveTo>
                <a:lnTo>
                  <a:pt x="1166344" y="3530526"/>
                </a:lnTo>
                <a:lnTo>
                  <a:pt x="1140574" y="3573395"/>
                </a:lnTo>
                <a:lnTo>
                  <a:pt x="1140575" y="3573395"/>
                </a:lnTo>
                <a:lnTo>
                  <a:pt x="1166348" y="3530526"/>
                </a:lnTo>
                <a:close/>
                <a:moveTo>
                  <a:pt x="1025780" y="3527168"/>
                </a:moveTo>
                <a:lnTo>
                  <a:pt x="1025764" y="3527246"/>
                </a:lnTo>
                <a:lnTo>
                  <a:pt x="1068253" y="3568026"/>
                </a:lnTo>
                <a:close/>
                <a:moveTo>
                  <a:pt x="1339507" y="3507544"/>
                </a:moveTo>
                <a:lnTo>
                  <a:pt x="1303523" y="3593644"/>
                </a:lnTo>
                <a:lnTo>
                  <a:pt x="1303557" y="3594739"/>
                </a:lnTo>
                <a:close/>
                <a:moveTo>
                  <a:pt x="2526705" y="3504492"/>
                </a:moveTo>
                <a:lnTo>
                  <a:pt x="2520956" y="3556503"/>
                </a:lnTo>
                <a:lnTo>
                  <a:pt x="2520957" y="3556503"/>
                </a:lnTo>
                <a:lnTo>
                  <a:pt x="2526809" y="3504647"/>
                </a:lnTo>
                <a:close/>
                <a:moveTo>
                  <a:pt x="2522084" y="3442616"/>
                </a:moveTo>
                <a:lnTo>
                  <a:pt x="2492821" y="3453876"/>
                </a:lnTo>
                <a:lnTo>
                  <a:pt x="2444768" y="3479854"/>
                </a:lnTo>
                <a:lnTo>
                  <a:pt x="2423721" y="3471952"/>
                </a:lnTo>
                <a:lnTo>
                  <a:pt x="2400209" y="3496744"/>
                </a:lnTo>
                <a:lnTo>
                  <a:pt x="2400209" y="3496745"/>
                </a:lnTo>
                <a:lnTo>
                  <a:pt x="2423721" y="3471953"/>
                </a:lnTo>
                <a:lnTo>
                  <a:pt x="2444769" y="3479855"/>
                </a:lnTo>
                <a:lnTo>
                  <a:pt x="2492822" y="3453878"/>
                </a:lnTo>
                <a:lnTo>
                  <a:pt x="2492905" y="3453999"/>
                </a:lnTo>
                <a:lnTo>
                  <a:pt x="2492824" y="3453876"/>
                </a:lnTo>
                <a:lnTo>
                  <a:pt x="2522087" y="3442616"/>
                </a:lnTo>
                <a:close/>
                <a:moveTo>
                  <a:pt x="2444739" y="3370562"/>
                </a:moveTo>
                <a:lnTo>
                  <a:pt x="2424850" y="3404290"/>
                </a:lnTo>
                <a:lnTo>
                  <a:pt x="2423724" y="3471834"/>
                </a:lnTo>
                <a:lnTo>
                  <a:pt x="2425978" y="3404292"/>
                </a:lnTo>
                <a:close/>
                <a:moveTo>
                  <a:pt x="1444076" y="3355997"/>
                </a:moveTo>
                <a:lnTo>
                  <a:pt x="1440597" y="3389672"/>
                </a:lnTo>
                <a:lnTo>
                  <a:pt x="1432410" y="3417730"/>
                </a:lnTo>
                <a:lnTo>
                  <a:pt x="1441723" y="3389672"/>
                </a:lnTo>
                <a:close/>
                <a:moveTo>
                  <a:pt x="534782" y="3315296"/>
                </a:moveTo>
                <a:lnTo>
                  <a:pt x="540636" y="3315296"/>
                </a:lnTo>
                <a:lnTo>
                  <a:pt x="545358" y="3322014"/>
                </a:lnTo>
                <a:lnTo>
                  <a:pt x="545358" y="3329916"/>
                </a:lnTo>
                <a:lnTo>
                  <a:pt x="537144" y="3341177"/>
                </a:lnTo>
                <a:lnTo>
                  <a:pt x="530162" y="3347992"/>
                </a:lnTo>
                <a:lnTo>
                  <a:pt x="525439" y="3344535"/>
                </a:lnTo>
                <a:lnTo>
                  <a:pt x="524207" y="3341177"/>
                </a:lnTo>
                <a:lnTo>
                  <a:pt x="523077" y="3331002"/>
                </a:lnTo>
                <a:lnTo>
                  <a:pt x="523077" y="3326557"/>
                </a:lnTo>
                <a:lnTo>
                  <a:pt x="527800" y="3320927"/>
                </a:lnTo>
                <a:close/>
                <a:moveTo>
                  <a:pt x="1144166" y="3226200"/>
                </a:moveTo>
                <a:lnTo>
                  <a:pt x="1164086" y="3243091"/>
                </a:lnTo>
                <a:lnTo>
                  <a:pt x="1128869" y="3347990"/>
                </a:lnTo>
                <a:lnTo>
                  <a:pt x="1168707" y="3400933"/>
                </a:lnTo>
                <a:lnTo>
                  <a:pt x="1177958" y="3470172"/>
                </a:lnTo>
                <a:lnTo>
                  <a:pt x="1178053" y="3469681"/>
                </a:lnTo>
                <a:lnTo>
                  <a:pt x="1168709" y="3400933"/>
                </a:lnTo>
                <a:lnTo>
                  <a:pt x="1128870" y="3347989"/>
                </a:lnTo>
                <a:lnTo>
                  <a:pt x="1164089" y="3243089"/>
                </a:lnTo>
                <a:lnTo>
                  <a:pt x="1144170" y="3226200"/>
                </a:lnTo>
                <a:close/>
                <a:moveTo>
                  <a:pt x="2497525" y="3209338"/>
                </a:moveTo>
                <a:lnTo>
                  <a:pt x="2465818" y="3255535"/>
                </a:lnTo>
                <a:lnTo>
                  <a:pt x="2448279" y="3298261"/>
                </a:lnTo>
                <a:lnTo>
                  <a:pt x="2467048" y="3256622"/>
                </a:lnTo>
                <a:close/>
                <a:moveTo>
                  <a:pt x="600392" y="3199137"/>
                </a:moveTo>
                <a:lnTo>
                  <a:pt x="601625" y="3201408"/>
                </a:lnTo>
                <a:lnTo>
                  <a:pt x="603986" y="3202495"/>
                </a:lnTo>
                <a:lnTo>
                  <a:pt x="603986" y="3204766"/>
                </a:lnTo>
                <a:lnTo>
                  <a:pt x="600392" y="3210397"/>
                </a:lnTo>
                <a:lnTo>
                  <a:pt x="598030" y="3213854"/>
                </a:lnTo>
                <a:lnTo>
                  <a:pt x="594540" y="3210397"/>
                </a:lnTo>
                <a:lnTo>
                  <a:pt x="593411" y="3208223"/>
                </a:lnTo>
                <a:lnTo>
                  <a:pt x="598030" y="3201408"/>
                </a:lnTo>
                <a:close/>
                <a:moveTo>
                  <a:pt x="1462839" y="3196062"/>
                </a:moveTo>
                <a:lnTo>
                  <a:pt x="1452302" y="3274698"/>
                </a:lnTo>
                <a:lnTo>
                  <a:pt x="1457010" y="3325208"/>
                </a:lnTo>
                <a:lnTo>
                  <a:pt x="1453428" y="3274698"/>
                </a:lnTo>
                <a:close/>
                <a:moveTo>
                  <a:pt x="1066748" y="3147280"/>
                </a:moveTo>
                <a:lnTo>
                  <a:pt x="1060897" y="3186789"/>
                </a:lnTo>
                <a:lnTo>
                  <a:pt x="1082048" y="3234102"/>
                </a:lnTo>
                <a:lnTo>
                  <a:pt x="1144147" y="3226202"/>
                </a:lnTo>
                <a:lnTo>
                  <a:pt x="1082049" y="3233015"/>
                </a:lnTo>
                <a:lnTo>
                  <a:pt x="1060898" y="3186788"/>
                </a:lnTo>
                <a:lnTo>
                  <a:pt x="1066750" y="3147280"/>
                </a:lnTo>
                <a:close/>
                <a:moveTo>
                  <a:pt x="1308354" y="3146863"/>
                </a:moveTo>
                <a:lnTo>
                  <a:pt x="1308140" y="3147279"/>
                </a:lnTo>
                <a:lnTo>
                  <a:pt x="1308142" y="3147280"/>
                </a:lnTo>
                <a:lnTo>
                  <a:pt x="1302289" y="3196862"/>
                </a:lnTo>
                <a:lnTo>
                  <a:pt x="1302292" y="3196862"/>
                </a:lnTo>
                <a:lnTo>
                  <a:pt x="1308143" y="3147277"/>
                </a:lnTo>
                <a:close/>
                <a:moveTo>
                  <a:pt x="2526758" y="3036808"/>
                </a:moveTo>
                <a:lnTo>
                  <a:pt x="2522253" y="3137871"/>
                </a:lnTo>
                <a:lnTo>
                  <a:pt x="2526806" y="3036847"/>
                </a:lnTo>
                <a:lnTo>
                  <a:pt x="2526807" y="3036847"/>
                </a:lnTo>
                <a:close/>
                <a:moveTo>
                  <a:pt x="1398393" y="3016501"/>
                </a:moveTo>
                <a:lnTo>
                  <a:pt x="1398282" y="3016611"/>
                </a:lnTo>
                <a:lnTo>
                  <a:pt x="1398394" y="3016501"/>
                </a:lnTo>
                <a:close/>
                <a:moveTo>
                  <a:pt x="1514417" y="2974816"/>
                </a:moveTo>
                <a:lnTo>
                  <a:pt x="1507332" y="3037933"/>
                </a:lnTo>
                <a:lnTo>
                  <a:pt x="1514417" y="2974818"/>
                </a:lnTo>
                <a:close/>
                <a:moveTo>
                  <a:pt x="1546565" y="2929444"/>
                </a:moveTo>
                <a:lnTo>
                  <a:pt x="1546041" y="2929775"/>
                </a:lnTo>
                <a:lnTo>
                  <a:pt x="1514518" y="2974675"/>
                </a:lnTo>
                <a:close/>
                <a:moveTo>
                  <a:pt x="2239826" y="2882508"/>
                </a:moveTo>
                <a:lnTo>
                  <a:pt x="2290139" y="2955652"/>
                </a:lnTo>
                <a:lnTo>
                  <a:pt x="2327243" y="2966801"/>
                </a:lnTo>
                <a:lnTo>
                  <a:pt x="2291269" y="2955657"/>
                </a:lnTo>
                <a:close/>
                <a:moveTo>
                  <a:pt x="2096799" y="2880190"/>
                </a:moveTo>
                <a:lnTo>
                  <a:pt x="2067432" y="2887993"/>
                </a:lnTo>
                <a:lnTo>
                  <a:pt x="2054602" y="2909421"/>
                </a:lnTo>
                <a:lnTo>
                  <a:pt x="2068665" y="2887992"/>
                </a:lnTo>
                <a:lnTo>
                  <a:pt x="2097502" y="2880302"/>
                </a:lnTo>
                <a:close/>
                <a:moveTo>
                  <a:pt x="2225658" y="2853127"/>
                </a:moveTo>
                <a:lnTo>
                  <a:pt x="2239722" y="2882363"/>
                </a:lnTo>
                <a:lnTo>
                  <a:pt x="2239724" y="2882363"/>
                </a:lnTo>
                <a:close/>
                <a:moveTo>
                  <a:pt x="2125821" y="2746454"/>
                </a:moveTo>
                <a:lnTo>
                  <a:pt x="2142489" y="2764030"/>
                </a:lnTo>
                <a:lnTo>
                  <a:pt x="2164769" y="2818159"/>
                </a:lnTo>
                <a:lnTo>
                  <a:pt x="2164771" y="2818161"/>
                </a:lnTo>
                <a:lnTo>
                  <a:pt x="2142491" y="2764032"/>
                </a:lnTo>
                <a:close/>
                <a:moveTo>
                  <a:pt x="2802188" y="2739239"/>
                </a:moveTo>
                <a:lnTo>
                  <a:pt x="2802189" y="2739240"/>
                </a:lnTo>
                <a:lnTo>
                  <a:pt x="2839665" y="2760674"/>
                </a:lnTo>
                <a:lnTo>
                  <a:pt x="2839664" y="2760672"/>
                </a:lnTo>
                <a:close/>
                <a:moveTo>
                  <a:pt x="1256546" y="2661380"/>
                </a:moveTo>
                <a:lnTo>
                  <a:pt x="1256597" y="2661502"/>
                </a:lnTo>
                <a:lnTo>
                  <a:pt x="1249791" y="2674021"/>
                </a:lnTo>
                <a:lnTo>
                  <a:pt x="1243764" y="2685108"/>
                </a:lnTo>
                <a:lnTo>
                  <a:pt x="1243766" y="2685108"/>
                </a:lnTo>
                <a:lnTo>
                  <a:pt x="1243764" y="2685110"/>
                </a:lnTo>
                <a:lnTo>
                  <a:pt x="1305686" y="2679972"/>
                </a:lnTo>
                <a:lnTo>
                  <a:pt x="1311632" y="2679479"/>
                </a:lnTo>
                <a:lnTo>
                  <a:pt x="1311631" y="2679479"/>
                </a:lnTo>
                <a:lnTo>
                  <a:pt x="1305686" y="2679972"/>
                </a:lnTo>
                <a:lnTo>
                  <a:pt x="1243766" y="2685108"/>
                </a:lnTo>
                <a:lnTo>
                  <a:pt x="1249791" y="2674021"/>
                </a:lnTo>
                <a:lnTo>
                  <a:pt x="1256598" y="2661501"/>
                </a:lnTo>
                <a:close/>
                <a:moveTo>
                  <a:pt x="2745090" y="2660629"/>
                </a:moveTo>
                <a:lnTo>
                  <a:pt x="2786889" y="2704272"/>
                </a:lnTo>
                <a:lnTo>
                  <a:pt x="2786889" y="2704271"/>
                </a:lnTo>
                <a:close/>
                <a:moveTo>
                  <a:pt x="1326932" y="2655870"/>
                </a:moveTo>
                <a:lnTo>
                  <a:pt x="1326932" y="2655871"/>
                </a:lnTo>
                <a:lnTo>
                  <a:pt x="1339764" y="2659230"/>
                </a:lnTo>
                <a:lnTo>
                  <a:pt x="1360915" y="2678392"/>
                </a:lnTo>
                <a:lnTo>
                  <a:pt x="1360918" y="2678392"/>
                </a:lnTo>
                <a:lnTo>
                  <a:pt x="1339766" y="2659230"/>
                </a:lnTo>
                <a:close/>
                <a:moveTo>
                  <a:pt x="2049875" y="2650143"/>
                </a:moveTo>
                <a:lnTo>
                  <a:pt x="2049875" y="2650145"/>
                </a:lnTo>
                <a:lnTo>
                  <a:pt x="2050059" y="2652342"/>
                </a:lnTo>
                <a:lnTo>
                  <a:pt x="2052237" y="2678392"/>
                </a:lnTo>
                <a:lnTo>
                  <a:pt x="2052238" y="2678393"/>
                </a:lnTo>
                <a:lnTo>
                  <a:pt x="2050059" y="2652342"/>
                </a:lnTo>
                <a:close/>
                <a:moveTo>
                  <a:pt x="3911813" y="2633252"/>
                </a:moveTo>
                <a:lnTo>
                  <a:pt x="3686848" y="2902711"/>
                </a:lnTo>
                <a:lnTo>
                  <a:pt x="3577908" y="2907156"/>
                </a:lnTo>
                <a:lnTo>
                  <a:pt x="3506446" y="2970373"/>
                </a:lnTo>
                <a:lnTo>
                  <a:pt x="3453669" y="2971460"/>
                </a:lnTo>
                <a:lnTo>
                  <a:pt x="3431389" y="2999609"/>
                </a:lnTo>
                <a:lnTo>
                  <a:pt x="3361056" y="3101052"/>
                </a:lnTo>
                <a:lnTo>
                  <a:pt x="3364610" y="3424315"/>
                </a:lnTo>
                <a:lnTo>
                  <a:pt x="3364650" y="3427999"/>
                </a:lnTo>
                <a:lnTo>
                  <a:pt x="3364650" y="3427998"/>
                </a:lnTo>
                <a:lnTo>
                  <a:pt x="3364610" y="3424315"/>
                </a:lnTo>
                <a:lnTo>
                  <a:pt x="3361057" y="3101052"/>
                </a:lnTo>
                <a:lnTo>
                  <a:pt x="3431390" y="2999611"/>
                </a:lnTo>
                <a:lnTo>
                  <a:pt x="3453671" y="2971460"/>
                </a:lnTo>
                <a:lnTo>
                  <a:pt x="3506447" y="2970373"/>
                </a:lnTo>
                <a:lnTo>
                  <a:pt x="3577910" y="2907156"/>
                </a:lnTo>
                <a:lnTo>
                  <a:pt x="3686850" y="2902712"/>
                </a:lnTo>
                <a:lnTo>
                  <a:pt x="3911815" y="2633252"/>
                </a:lnTo>
                <a:close/>
                <a:moveTo>
                  <a:pt x="2721228" y="2602928"/>
                </a:moveTo>
                <a:lnTo>
                  <a:pt x="2694377" y="2653602"/>
                </a:lnTo>
                <a:lnTo>
                  <a:pt x="2744793" y="2660318"/>
                </a:lnTo>
                <a:lnTo>
                  <a:pt x="2744791" y="2660317"/>
                </a:lnTo>
                <a:lnTo>
                  <a:pt x="2695507" y="2653599"/>
                </a:lnTo>
                <a:close/>
                <a:moveTo>
                  <a:pt x="3700745" y="2578762"/>
                </a:moveTo>
                <a:lnTo>
                  <a:pt x="3841478" y="2634436"/>
                </a:lnTo>
                <a:lnTo>
                  <a:pt x="3841480" y="2634436"/>
                </a:lnTo>
                <a:close/>
                <a:moveTo>
                  <a:pt x="27458" y="2574675"/>
                </a:moveTo>
                <a:lnTo>
                  <a:pt x="27458" y="2574678"/>
                </a:lnTo>
                <a:lnTo>
                  <a:pt x="48505" y="2606186"/>
                </a:lnTo>
                <a:lnTo>
                  <a:pt x="48505" y="2606185"/>
                </a:lnTo>
                <a:close/>
                <a:moveTo>
                  <a:pt x="1555387" y="2537439"/>
                </a:moveTo>
                <a:lnTo>
                  <a:pt x="1531977" y="2546527"/>
                </a:lnTo>
                <a:lnTo>
                  <a:pt x="1555385" y="2537440"/>
                </a:lnTo>
                <a:lnTo>
                  <a:pt x="1635062" y="2543070"/>
                </a:lnTo>
                <a:lnTo>
                  <a:pt x="1635064" y="2543070"/>
                </a:lnTo>
                <a:close/>
                <a:moveTo>
                  <a:pt x="253538" y="2504760"/>
                </a:moveTo>
                <a:lnTo>
                  <a:pt x="227780" y="2531809"/>
                </a:lnTo>
                <a:lnTo>
                  <a:pt x="213718" y="2588185"/>
                </a:lnTo>
                <a:lnTo>
                  <a:pt x="229011" y="2531808"/>
                </a:lnTo>
                <a:close/>
                <a:moveTo>
                  <a:pt x="2774057" y="2502640"/>
                </a:moveTo>
                <a:lnTo>
                  <a:pt x="2776417" y="2572408"/>
                </a:lnTo>
                <a:lnTo>
                  <a:pt x="2764712" y="2600558"/>
                </a:lnTo>
                <a:lnTo>
                  <a:pt x="2722693" y="2602757"/>
                </a:lnTo>
                <a:lnTo>
                  <a:pt x="2765840" y="2600557"/>
                </a:lnTo>
                <a:lnTo>
                  <a:pt x="2777545" y="2572405"/>
                </a:lnTo>
                <a:close/>
                <a:moveTo>
                  <a:pt x="2762349" y="2500298"/>
                </a:moveTo>
                <a:lnTo>
                  <a:pt x="2762349" y="2501388"/>
                </a:lnTo>
                <a:lnTo>
                  <a:pt x="2774054" y="2502574"/>
                </a:lnTo>
                <a:lnTo>
                  <a:pt x="2774054" y="2502571"/>
                </a:lnTo>
                <a:lnTo>
                  <a:pt x="2774054" y="2502570"/>
                </a:lnTo>
                <a:close/>
                <a:moveTo>
                  <a:pt x="107133" y="2470961"/>
                </a:moveTo>
                <a:lnTo>
                  <a:pt x="109496" y="2514915"/>
                </a:lnTo>
                <a:lnTo>
                  <a:pt x="109498" y="2514918"/>
                </a:lnTo>
                <a:lnTo>
                  <a:pt x="107135" y="2470964"/>
                </a:lnTo>
                <a:close/>
                <a:moveTo>
                  <a:pt x="1151149" y="2452889"/>
                </a:moveTo>
                <a:lnTo>
                  <a:pt x="1133591" y="2495757"/>
                </a:lnTo>
                <a:lnTo>
                  <a:pt x="1181644" y="2547615"/>
                </a:lnTo>
                <a:lnTo>
                  <a:pt x="1181794" y="2547678"/>
                </a:lnTo>
                <a:lnTo>
                  <a:pt x="1181645" y="2547614"/>
                </a:lnTo>
                <a:lnTo>
                  <a:pt x="1133593" y="2495756"/>
                </a:lnTo>
                <a:lnTo>
                  <a:pt x="1151151" y="2452889"/>
                </a:lnTo>
                <a:close/>
                <a:moveTo>
                  <a:pt x="299908" y="2390976"/>
                </a:moveTo>
                <a:lnTo>
                  <a:pt x="284045" y="2424736"/>
                </a:lnTo>
                <a:lnTo>
                  <a:pt x="284045" y="2424737"/>
                </a:lnTo>
                <a:close/>
                <a:moveTo>
                  <a:pt x="2832683" y="2372878"/>
                </a:moveTo>
                <a:lnTo>
                  <a:pt x="2793974" y="2397672"/>
                </a:lnTo>
                <a:lnTo>
                  <a:pt x="2774064" y="2492350"/>
                </a:lnTo>
                <a:lnTo>
                  <a:pt x="2795103" y="2397672"/>
                </a:lnTo>
                <a:lnTo>
                  <a:pt x="2832683" y="2372880"/>
                </a:lnTo>
                <a:close/>
                <a:moveTo>
                  <a:pt x="282916" y="2335739"/>
                </a:moveTo>
                <a:lnTo>
                  <a:pt x="282916" y="2335741"/>
                </a:lnTo>
                <a:lnTo>
                  <a:pt x="300474" y="2389771"/>
                </a:lnTo>
                <a:lnTo>
                  <a:pt x="300474" y="2389769"/>
                </a:lnTo>
                <a:close/>
                <a:moveTo>
                  <a:pt x="3405615" y="2333462"/>
                </a:moveTo>
                <a:lnTo>
                  <a:pt x="3405616" y="2333468"/>
                </a:lnTo>
                <a:lnTo>
                  <a:pt x="3407612" y="2357252"/>
                </a:lnTo>
                <a:lnTo>
                  <a:pt x="3405618" y="2333470"/>
                </a:lnTo>
                <a:close/>
                <a:moveTo>
                  <a:pt x="2697941" y="2325975"/>
                </a:moveTo>
                <a:lnTo>
                  <a:pt x="2697869" y="2326655"/>
                </a:lnTo>
                <a:lnTo>
                  <a:pt x="2709574" y="2390957"/>
                </a:lnTo>
                <a:lnTo>
                  <a:pt x="2751774" y="2425824"/>
                </a:lnTo>
                <a:lnTo>
                  <a:pt x="2762349" y="2457431"/>
                </a:lnTo>
                <a:lnTo>
                  <a:pt x="2762349" y="2457430"/>
                </a:lnTo>
                <a:lnTo>
                  <a:pt x="2751774" y="2425821"/>
                </a:lnTo>
                <a:lnTo>
                  <a:pt x="2709574" y="2390954"/>
                </a:lnTo>
                <a:close/>
                <a:moveTo>
                  <a:pt x="2634484" y="2310413"/>
                </a:moveTo>
                <a:lnTo>
                  <a:pt x="2641602" y="2358260"/>
                </a:lnTo>
                <a:lnTo>
                  <a:pt x="2598272" y="2407845"/>
                </a:lnTo>
                <a:lnTo>
                  <a:pt x="2558433" y="2470963"/>
                </a:lnTo>
                <a:lnTo>
                  <a:pt x="2517465" y="2481136"/>
                </a:lnTo>
                <a:lnTo>
                  <a:pt x="2447132" y="2429278"/>
                </a:lnTo>
                <a:lnTo>
                  <a:pt x="2416637" y="2447256"/>
                </a:lnTo>
                <a:lnTo>
                  <a:pt x="2409655" y="2474321"/>
                </a:lnTo>
                <a:lnTo>
                  <a:pt x="2366224" y="2491211"/>
                </a:lnTo>
                <a:lnTo>
                  <a:pt x="2363965" y="2509287"/>
                </a:lnTo>
                <a:lnTo>
                  <a:pt x="2283055" y="2509287"/>
                </a:lnTo>
                <a:lnTo>
                  <a:pt x="2271350" y="2491211"/>
                </a:lnTo>
                <a:lnTo>
                  <a:pt x="2211592" y="2486767"/>
                </a:lnTo>
                <a:lnTo>
                  <a:pt x="2182329" y="2502570"/>
                </a:lnTo>
                <a:lnTo>
                  <a:pt x="2160049" y="2494668"/>
                </a:lnTo>
                <a:lnTo>
                  <a:pt x="2116720" y="2442811"/>
                </a:lnTo>
                <a:lnTo>
                  <a:pt x="2101420" y="2418018"/>
                </a:lnTo>
                <a:lnTo>
                  <a:pt x="2042894" y="2430365"/>
                </a:lnTo>
                <a:lnTo>
                  <a:pt x="2020614" y="2470963"/>
                </a:lnTo>
                <a:lnTo>
                  <a:pt x="2001824" y="2550970"/>
                </a:lnTo>
                <a:lnTo>
                  <a:pt x="1973691" y="2567861"/>
                </a:lnTo>
                <a:lnTo>
                  <a:pt x="1949151" y="2578035"/>
                </a:lnTo>
                <a:lnTo>
                  <a:pt x="1942067" y="2573491"/>
                </a:lnTo>
                <a:lnTo>
                  <a:pt x="1912804" y="2548699"/>
                </a:lnTo>
                <a:lnTo>
                  <a:pt x="1908081" y="2520548"/>
                </a:lnTo>
                <a:lnTo>
                  <a:pt x="1919786" y="2484494"/>
                </a:lnTo>
                <a:lnTo>
                  <a:pt x="1919786" y="2447256"/>
                </a:lnTo>
                <a:lnTo>
                  <a:pt x="1871836" y="2390954"/>
                </a:lnTo>
                <a:lnTo>
                  <a:pt x="1861260" y="2352629"/>
                </a:lnTo>
                <a:lnTo>
                  <a:pt x="1861260" y="2352631"/>
                </a:lnTo>
                <a:lnTo>
                  <a:pt x="1810845" y="2368336"/>
                </a:lnTo>
                <a:lnTo>
                  <a:pt x="1769877" y="2403302"/>
                </a:lnTo>
                <a:lnTo>
                  <a:pt x="1810845" y="2368337"/>
                </a:lnTo>
                <a:lnTo>
                  <a:pt x="1861259" y="2352632"/>
                </a:lnTo>
                <a:lnTo>
                  <a:pt x="1871834" y="2390957"/>
                </a:lnTo>
                <a:lnTo>
                  <a:pt x="1919785" y="2447258"/>
                </a:lnTo>
                <a:lnTo>
                  <a:pt x="1919785" y="2484497"/>
                </a:lnTo>
                <a:lnTo>
                  <a:pt x="1908078" y="2520549"/>
                </a:lnTo>
                <a:lnTo>
                  <a:pt x="1912802" y="2548701"/>
                </a:lnTo>
                <a:lnTo>
                  <a:pt x="1942065" y="2574678"/>
                </a:lnTo>
                <a:lnTo>
                  <a:pt x="1949150" y="2578036"/>
                </a:lnTo>
                <a:lnTo>
                  <a:pt x="1949150" y="2578038"/>
                </a:lnTo>
                <a:lnTo>
                  <a:pt x="1974922" y="2569049"/>
                </a:lnTo>
                <a:lnTo>
                  <a:pt x="2001823" y="2552159"/>
                </a:lnTo>
                <a:lnTo>
                  <a:pt x="2021742" y="2470966"/>
                </a:lnTo>
                <a:lnTo>
                  <a:pt x="2042894" y="2430368"/>
                </a:lnTo>
                <a:lnTo>
                  <a:pt x="2101420" y="2418021"/>
                </a:lnTo>
                <a:lnTo>
                  <a:pt x="2116718" y="2442814"/>
                </a:lnTo>
                <a:lnTo>
                  <a:pt x="2160049" y="2495757"/>
                </a:lnTo>
                <a:lnTo>
                  <a:pt x="2182329" y="2502574"/>
                </a:lnTo>
                <a:lnTo>
                  <a:pt x="2211592" y="2486770"/>
                </a:lnTo>
                <a:lnTo>
                  <a:pt x="2271350" y="2491215"/>
                </a:lnTo>
                <a:lnTo>
                  <a:pt x="2283055" y="2509290"/>
                </a:lnTo>
                <a:lnTo>
                  <a:pt x="2363965" y="2509290"/>
                </a:lnTo>
                <a:lnTo>
                  <a:pt x="2367455" y="2491215"/>
                </a:lnTo>
                <a:lnTo>
                  <a:pt x="2409655" y="2474324"/>
                </a:lnTo>
                <a:lnTo>
                  <a:pt x="2416637" y="2447259"/>
                </a:lnTo>
                <a:lnTo>
                  <a:pt x="2447132" y="2429281"/>
                </a:lnTo>
                <a:lnTo>
                  <a:pt x="2517465" y="2481139"/>
                </a:lnTo>
                <a:lnTo>
                  <a:pt x="2558433" y="2470966"/>
                </a:lnTo>
                <a:lnTo>
                  <a:pt x="2598273" y="2407848"/>
                </a:lnTo>
                <a:lnTo>
                  <a:pt x="2642834" y="2358263"/>
                </a:lnTo>
                <a:close/>
                <a:moveTo>
                  <a:pt x="2667373" y="2252274"/>
                </a:moveTo>
                <a:lnTo>
                  <a:pt x="2662753" y="2273708"/>
                </a:lnTo>
                <a:lnTo>
                  <a:pt x="2612339" y="2278154"/>
                </a:lnTo>
                <a:lnTo>
                  <a:pt x="2624434" y="2292456"/>
                </a:lnTo>
                <a:lnTo>
                  <a:pt x="2613469" y="2278155"/>
                </a:lnTo>
                <a:lnTo>
                  <a:pt x="2662753" y="2273712"/>
                </a:lnTo>
                <a:lnTo>
                  <a:pt x="2667375" y="2253363"/>
                </a:lnTo>
                <a:lnTo>
                  <a:pt x="2704953" y="2260179"/>
                </a:lnTo>
                <a:lnTo>
                  <a:pt x="2704953" y="2260175"/>
                </a:lnTo>
                <a:close/>
                <a:moveTo>
                  <a:pt x="3452540" y="2227482"/>
                </a:moveTo>
                <a:lnTo>
                  <a:pt x="3424406" y="2266893"/>
                </a:lnTo>
                <a:lnTo>
                  <a:pt x="3424382" y="2266932"/>
                </a:lnTo>
                <a:lnTo>
                  <a:pt x="3424406" y="2266895"/>
                </a:lnTo>
                <a:lnTo>
                  <a:pt x="3452540" y="2227483"/>
                </a:lnTo>
                <a:lnTo>
                  <a:pt x="3487654" y="2234201"/>
                </a:lnTo>
                <a:lnTo>
                  <a:pt x="3487656" y="2234199"/>
                </a:lnTo>
                <a:lnTo>
                  <a:pt x="3452541" y="2227483"/>
                </a:lnTo>
                <a:close/>
                <a:moveTo>
                  <a:pt x="1811976" y="2217307"/>
                </a:moveTo>
                <a:lnTo>
                  <a:pt x="1782713" y="2222938"/>
                </a:lnTo>
                <a:lnTo>
                  <a:pt x="1782713" y="2222939"/>
                </a:lnTo>
                <a:lnTo>
                  <a:pt x="1811974" y="2217309"/>
                </a:lnTo>
                <a:lnTo>
                  <a:pt x="1829634" y="2253362"/>
                </a:lnTo>
                <a:lnTo>
                  <a:pt x="1830764" y="2305218"/>
                </a:lnTo>
                <a:lnTo>
                  <a:pt x="1861260" y="2330011"/>
                </a:lnTo>
                <a:lnTo>
                  <a:pt x="1861260" y="2330010"/>
                </a:lnTo>
                <a:lnTo>
                  <a:pt x="1830766" y="2305218"/>
                </a:lnTo>
                <a:lnTo>
                  <a:pt x="1829636" y="2252274"/>
                </a:lnTo>
                <a:close/>
                <a:moveTo>
                  <a:pt x="816013" y="2161004"/>
                </a:moveTo>
                <a:lnTo>
                  <a:pt x="767960" y="2199331"/>
                </a:lnTo>
                <a:lnTo>
                  <a:pt x="816013" y="2161006"/>
                </a:lnTo>
                <a:lnTo>
                  <a:pt x="860468" y="2164112"/>
                </a:lnTo>
                <a:close/>
                <a:moveTo>
                  <a:pt x="1181642" y="2157550"/>
                </a:moveTo>
                <a:lnTo>
                  <a:pt x="1174559" y="2198144"/>
                </a:lnTo>
                <a:lnTo>
                  <a:pt x="1151147" y="2203774"/>
                </a:lnTo>
                <a:lnTo>
                  <a:pt x="1147657" y="2232024"/>
                </a:lnTo>
                <a:lnTo>
                  <a:pt x="1133591" y="2234198"/>
                </a:lnTo>
                <a:lnTo>
                  <a:pt x="1148786" y="2232026"/>
                </a:lnTo>
                <a:lnTo>
                  <a:pt x="1148788" y="2232027"/>
                </a:lnTo>
                <a:lnTo>
                  <a:pt x="1151149" y="2203777"/>
                </a:lnTo>
                <a:lnTo>
                  <a:pt x="1174559" y="2198148"/>
                </a:lnTo>
                <a:lnTo>
                  <a:pt x="1207416" y="2255635"/>
                </a:lnTo>
                <a:lnTo>
                  <a:pt x="1214397" y="2315394"/>
                </a:lnTo>
                <a:lnTo>
                  <a:pt x="1210907" y="2375152"/>
                </a:lnTo>
                <a:lnTo>
                  <a:pt x="1256597" y="2457431"/>
                </a:lnTo>
                <a:lnTo>
                  <a:pt x="1256598" y="2457431"/>
                </a:lnTo>
                <a:lnTo>
                  <a:pt x="1210908" y="2375151"/>
                </a:lnTo>
                <a:lnTo>
                  <a:pt x="1214399" y="2315393"/>
                </a:lnTo>
                <a:lnTo>
                  <a:pt x="1207416" y="2255633"/>
                </a:lnTo>
                <a:lnTo>
                  <a:pt x="1174560" y="2198146"/>
                </a:lnTo>
                <a:lnTo>
                  <a:pt x="1181645" y="2157550"/>
                </a:lnTo>
                <a:close/>
                <a:moveTo>
                  <a:pt x="627396" y="2155375"/>
                </a:moveTo>
                <a:lnTo>
                  <a:pt x="588687" y="2176710"/>
                </a:lnTo>
                <a:lnTo>
                  <a:pt x="546487" y="2175624"/>
                </a:lnTo>
                <a:lnTo>
                  <a:pt x="588687" y="2176711"/>
                </a:lnTo>
                <a:lnTo>
                  <a:pt x="627396" y="2155376"/>
                </a:lnTo>
                <a:lnTo>
                  <a:pt x="726992" y="2202689"/>
                </a:lnTo>
                <a:close/>
                <a:moveTo>
                  <a:pt x="887475" y="2151918"/>
                </a:moveTo>
                <a:lnTo>
                  <a:pt x="864064" y="2164364"/>
                </a:lnTo>
                <a:lnTo>
                  <a:pt x="864066" y="2164364"/>
                </a:lnTo>
                <a:lnTo>
                  <a:pt x="887475" y="2151919"/>
                </a:lnTo>
                <a:lnTo>
                  <a:pt x="887788" y="2151959"/>
                </a:lnTo>
                <a:close/>
                <a:moveTo>
                  <a:pt x="1057405" y="2132756"/>
                </a:moveTo>
                <a:lnTo>
                  <a:pt x="994156" y="2182340"/>
                </a:lnTo>
                <a:lnTo>
                  <a:pt x="994024" y="2182288"/>
                </a:lnTo>
                <a:lnTo>
                  <a:pt x="994156" y="2182342"/>
                </a:lnTo>
                <a:lnTo>
                  <a:pt x="1057405" y="2132756"/>
                </a:lnTo>
                <a:lnTo>
                  <a:pt x="1076194" y="2136214"/>
                </a:lnTo>
                <a:lnTo>
                  <a:pt x="1076194" y="2136213"/>
                </a:lnTo>
                <a:close/>
                <a:moveTo>
                  <a:pt x="2952196" y="2127158"/>
                </a:moveTo>
                <a:lnTo>
                  <a:pt x="2950966" y="2136213"/>
                </a:lnTo>
                <a:lnTo>
                  <a:pt x="2941218" y="2163934"/>
                </a:lnTo>
                <a:lnTo>
                  <a:pt x="2950966" y="2136214"/>
                </a:lnTo>
                <a:close/>
                <a:moveTo>
                  <a:pt x="3352897" y="2118745"/>
                </a:moveTo>
                <a:lnTo>
                  <a:pt x="3386828" y="2146290"/>
                </a:lnTo>
                <a:lnTo>
                  <a:pt x="3386827" y="2146288"/>
                </a:lnTo>
                <a:close/>
                <a:moveTo>
                  <a:pt x="1800271" y="2114779"/>
                </a:moveTo>
                <a:lnTo>
                  <a:pt x="1800269" y="2114780"/>
                </a:lnTo>
                <a:lnTo>
                  <a:pt x="1810845" y="2153105"/>
                </a:lnTo>
                <a:lnTo>
                  <a:pt x="1805392" y="2162443"/>
                </a:lnTo>
                <a:lnTo>
                  <a:pt x="1810846" y="2153103"/>
                </a:lnTo>
                <a:close/>
                <a:moveTo>
                  <a:pt x="432824" y="2107962"/>
                </a:moveTo>
                <a:lnTo>
                  <a:pt x="344932" y="2119223"/>
                </a:lnTo>
                <a:lnTo>
                  <a:pt x="325013" y="2138385"/>
                </a:lnTo>
                <a:lnTo>
                  <a:pt x="313308" y="2189156"/>
                </a:lnTo>
                <a:lnTo>
                  <a:pt x="289898" y="2226395"/>
                </a:lnTo>
                <a:lnTo>
                  <a:pt x="285175" y="2306402"/>
                </a:lnTo>
                <a:lnTo>
                  <a:pt x="223158" y="2254545"/>
                </a:lnTo>
                <a:lnTo>
                  <a:pt x="193793" y="2254545"/>
                </a:lnTo>
                <a:lnTo>
                  <a:pt x="165659" y="2281609"/>
                </a:lnTo>
                <a:lnTo>
                  <a:pt x="165659" y="2281611"/>
                </a:lnTo>
                <a:lnTo>
                  <a:pt x="148101" y="2307491"/>
                </a:lnTo>
                <a:lnTo>
                  <a:pt x="108263" y="2316480"/>
                </a:lnTo>
                <a:lnTo>
                  <a:pt x="90705" y="2355989"/>
                </a:lnTo>
                <a:lnTo>
                  <a:pt x="62571" y="2366163"/>
                </a:lnTo>
                <a:lnTo>
                  <a:pt x="62553" y="2366257"/>
                </a:lnTo>
                <a:lnTo>
                  <a:pt x="62574" y="2366163"/>
                </a:lnTo>
                <a:lnTo>
                  <a:pt x="90708" y="2355989"/>
                </a:lnTo>
                <a:lnTo>
                  <a:pt x="108264" y="2316480"/>
                </a:lnTo>
                <a:lnTo>
                  <a:pt x="148103" y="2307491"/>
                </a:lnTo>
                <a:lnTo>
                  <a:pt x="165661" y="2281612"/>
                </a:lnTo>
                <a:lnTo>
                  <a:pt x="193794" y="2254548"/>
                </a:lnTo>
                <a:lnTo>
                  <a:pt x="223160" y="2254548"/>
                </a:lnTo>
                <a:lnTo>
                  <a:pt x="285175" y="2306404"/>
                </a:lnTo>
                <a:lnTo>
                  <a:pt x="289898" y="2226395"/>
                </a:lnTo>
                <a:lnTo>
                  <a:pt x="313308" y="2189157"/>
                </a:lnTo>
                <a:lnTo>
                  <a:pt x="325013" y="2138386"/>
                </a:lnTo>
                <a:lnTo>
                  <a:pt x="346166" y="2119224"/>
                </a:lnTo>
                <a:lnTo>
                  <a:pt x="433117" y="2108085"/>
                </a:lnTo>
                <a:close/>
                <a:moveTo>
                  <a:pt x="3325939" y="2085443"/>
                </a:moveTo>
                <a:lnTo>
                  <a:pt x="3349351" y="2115866"/>
                </a:lnTo>
                <a:lnTo>
                  <a:pt x="3325941" y="2085443"/>
                </a:lnTo>
                <a:close/>
                <a:moveTo>
                  <a:pt x="1097075" y="2067102"/>
                </a:moveTo>
                <a:lnTo>
                  <a:pt x="1128867" y="2096702"/>
                </a:lnTo>
                <a:lnTo>
                  <a:pt x="1128867" y="2154189"/>
                </a:lnTo>
                <a:lnTo>
                  <a:pt x="1128870" y="2154190"/>
                </a:lnTo>
                <a:lnTo>
                  <a:pt x="1128870" y="2096703"/>
                </a:lnTo>
                <a:close/>
                <a:moveTo>
                  <a:pt x="1808768" y="2066626"/>
                </a:moveTo>
                <a:lnTo>
                  <a:pt x="1808484" y="2067368"/>
                </a:lnTo>
                <a:lnTo>
                  <a:pt x="1826042" y="2087714"/>
                </a:lnTo>
                <a:close/>
                <a:moveTo>
                  <a:pt x="20371" y="2013339"/>
                </a:moveTo>
                <a:lnTo>
                  <a:pt x="13389" y="2057292"/>
                </a:lnTo>
                <a:lnTo>
                  <a:pt x="25094" y="2097889"/>
                </a:lnTo>
                <a:lnTo>
                  <a:pt x="70785" y="2155376"/>
                </a:lnTo>
                <a:lnTo>
                  <a:pt x="73146" y="2199332"/>
                </a:lnTo>
                <a:lnTo>
                  <a:pt x="166891" y="2219580"/>
                </a:lnTo>
                <a:lnTo>
                  <a:pt x="165682" y="2280545"/>
                </a:lnTo>
                <a:lnTo>
                  <a:pt x="166893" y="2219578"/>
                </a:lnTo>
                <a:lnTo>
                  <a:pt x="73148" y="2199331"/>
                </a:lnTo>
                <a:lnTo>
                  <a:pt x="70787" y="2155375"/>
                </a:lnTo>
                <a:lnTo>
                  <a:pt x="25095" y="2097888"/>
                </a:lnTo>
                <a:lnTo>
                  <a:pt x="13390" y="2057290"/>
                </a:lnTo>
                <a:close/>
                <a:moveTo>
                  <a:pt x="3078696" y="2011065"/>
                </a:moveTo>
                <a:lnTo>
                  <a:pt x="3078696" y="2011067"/>
                </a:lnTo>
                <a:lnTo>
                  <a:pt x="3130239" y="2051661"/>
                </a:lnTo>
                <a:close/>
                <a:moveTo>
                  <a:pt x="1842341" y="1988099"/>
                </a:moveTo>
                <a:lnTo>
                  <a:pt x="1829634" y="2012152"/>
                </a:lnTo>
                <a:lnTo>
                  <a:pt x="1829617" y="2012201"/>
                </a:lnTo>
                <a:lnTo>
                  <a:pt x="1829636" y="2012151"/>
                </a:lnTo>
                <a:close/>
                <a:moveTo>
                  <a:pt x="335589" y="1634534"/>
                </a:moveTo>
                <a:lnTo>
                  <a:pt x="246568" y="1642329"/>
                </a:lnTo>
                <a:lnTo>
                  <a:pt x="246573" y="1642438"/>
                </a:lnTo>
                <a:lnTo>
                  <a:pt x="335589" y="1634536"/>
                </a:lnTo>
                <a:close/>
                <a:moveTo>
                  <a:pt x="1918654" y="1557886"/>
                </a:moveTo>
                <a:lnTo>
                  <a:pt x="1918654" y="1596210"/>
                </a:lnTo>
                <a:lnTo>
                  <a:pt x="1918655" y="1596210"/>
                </a:lnTo>
                <a:lnTo>
                  <a:pt x="1935084" y="1951305"/>
                </a:lnTo>
                <a:lnTo>
                  <a:pt x="1918657" y="1596208"/>
                </a:lnTo>
                <a:lnTo>
                  <a:pt x="1918657" y="1557886"/>
                </a:lnTo>
                <a:close/>
                <a:moveTo>
                  <a:pt x="156343" y="1545551"/>
                </a:moveTo>
                <a:lnTo>
                  <a:pt x="206734" y="1571418"/>
                </a:lnTo>
                <a:lnTo>
                  <a:pt x="244186" y="1586028"/>
                </a:lnTo>
                <a:lnTo>
                  <a:pt x="206729" y="1570331"/>
                </a:lnTo>
                <a:close/>
                <a:moveTo>
                  <a:pt x="1274155" y="1524101"/>
                </a:moveTo>
                <a:lnTo>
                  <a:pt x="1257829" y="1562426"/>
                </a:lnTo>
                <a:lnTo>
                  <a:pt x="1231954" y="1743876"/>
                </a:lnTo>
                <a:lnTo>
                  <a:pt x="1228463" y="1861123"/>
                </a:lnTo>
                <a:lnTo>
                  <a:pt x="1127738" y="1945674"/>
                </a:lnTo>
                <a:lnTo>
                  <a:pt x="1093752" y="2064008"/>
                </a:lnTo>
                <a:lnTo>
                  <a:pt x="1093754" y="2064010"/>
                </a:lnTo>
                <a:lnTo>
                  <a:pt x="1127741" y="1945676"/>
                </a:lnTo>
                <a:lnTo>
                  <a:pt x="1228465" y="1861124"/>
                </a:lnTo>
                <a:lnTo>
                  <a:pt x="1231957" y="1743879"/>
                </a:lnTo>
                <a:lnTo>
                  <a:pt x="1257832" y="1562429"/>
                </a:lnTo>
                <a:lnTo>
                  <a:pt x="1274157" y="1524103"/>
                </a:lnTo>
                <a:close/>
                <a:moveTo>
                  <a:pt x="1236197" y="1463029"/>
                </a:moveTo>
                <a:lnTo>
                  <a:pt x="1237909" y="1464343"/>
                </a:lnTo>
                <a:lnTo>
                  <a:pt x="1240168" y="1493679"/>
                </a:lnTo>
                <a:lnTo>
                  <a:pt x="1240171" y="1493680"/>
                </a:lnTo>
                <a:lnTo>
                  <a:pt x="1237912" y="1464344"/>
                </a:lnTo>
                <a:close/>
                <a:moveTo>
                  <a:pt x="1263680" y="1252374"/>
                </a:moveTo>
                <a:lnTo>
                  <a:pt x="1185134" y="1302057"/>
                </a:lnTo>
                <a:lnTo>
                  <a:pt x="1208544" y="1441821"/>
                </a:lnTo>
                <a:lnTo>
                  <a:pt x="1208546" y="1441822"/>
                </a:lnTo>
                <a:lnTo>
                  <a:pt x="1185136" y="1302057"/>
                </a:lnTo>
                <a:lnTo>
                  <a:pt x="1263682" y="1252374"/>
                </a:lnTo>
                <a:close/>
                <a:moveTo>
                  <a:pt x="952703" y="1246983"/>
                </a:moveTo>
                <a:lnTo>
                  <a:pt x="681300" y="1418117"/>
                </a:lnTo>
                <a:lnTo>
                  <a:pt x="449514" y="1594922"/>
                </a:lnTo>
                <a:lnTo>
                  <a:pt x="681300" y="1419201"/>
                </a:lnTo>
                <a:close/>
                <a:moveTo>
                  <a:pt x="783258" y="1077739"/>
                </a:moveTo>
                <a:lnTo>
                  <a:pt x="786748" y="1116064"/>
                </a:lnTo>
                <a:lnTo>
                  <a:pt x="786748" y="1116062"/>
                </a:lnTo>
                <a:close/>
                <a:moveTo>
                  <a:pt x="764468" y="975111"/>
                </a:moveTo>
                <a:lnTo>
                  <a:pt x="733973" y="1011163"/>
                </a:lnTo>
                <a:lnTo>
                  <a:pt x="733973" y="1011164"/>
                </a:lnTo>
                <a:lnTo>
                  <a:pt x="764468" y="975112"/>
                </a:lnTo>
                <a:close/>
                <a:moveTo>
                  <a:pt x="761629" y="846054"/>
                </a:moveTo>
                <a:lnTo>
                  <a:pt x="765597" y="869126"/>
                </a:lnTo>
                <a:lnTo>
                  <a:pt x="757485" y="918709"/>
                </a:lnTo>
                <a:lnTo>
                  <a:pt x="757485" y="918711"/>
                </a:lnTo>
                <a:lnTo>
                  <a:pt x="765597" y="869126"/>
                </a:lnTo>
                <a:lnTo>
                  <a:pt x="765597" y="869124"/>
                </a:lnTo>
                <a:close/>
                <a:moveTo>
                  <a:pt x="1970199" y="729358"/>
                </a:moveTo>
                <a:lnTo>
                  <a:pt x="1988988" y="1049490"/>
                </a:lnTo>
                <a:lnTo>
                  <a:pt x="2004184" y="1379796"/>
                </a:lnTo>
                <a:lnTo>
                  <a:pt x="2011269" y="1557883"/>
                </a:lnTo>
                <a:lnTo>
                  <a:pt x="2011270" y="1557883"/>
                </a:lnTo>
                <a:lnTo>
                  <a:pt x="2004185" y="1379796"/>
                </a:lnTo>
                <a:lnTo>
                  <a:pt x="2004184" y="1379796"/>
                </a:lnTo>
                <a:lnTo>
                  <a:pt x="2004184" y="1379794"/>
                </a:lnTo>
                <a:lnTo>
                  <a:pt x="1988988" y="1049489"/>
                </a:lnTo>
                <a:close/>
                <a:moveTo>
                  <a:pt x="765597" y="712467"/>
                </a:moveTo>
                <a:lnTo>
                  <a:pt x="771449" y="755336"/>
                </a:lnTo>
                <a:lnTo>
                  <a:pt x="758615" y="828528"/>
                </a:lnTo>
                <a:lnTo>
                  <a:pt x="771450" y="755336"/>
                </a:lnTo>
                <a:close/>
                <a:moveTo>
                  <a:pt x="699988" y="474617"/>
                </a:moveTo>
                <a:lnTo>
                  <a:pt x="737566" y="633545"/>
                </a:lnTo>
                <a:lnTo>
                  <a:pt x="737567" y="633547"/>
                </a:lnTo>
                <a:close/>
                <a:moveTo>
                  <a:pt x="649674" y="417130"/>
                </a:moveTo>
                <a:lnTo>
                  <a:pt x="649674" y="437378"/>
                </a:lnTo>
                <a:lnTo>
                  <a:pt x="649676" y="437378"/>
                </a:lnTo>
                <a:lnTo>
                  <a:pt x="649676" y="417130"/>
                </a:lnTo>
                <a:close/>
                <a:moveTo>
                  <a:pt x="623904" y="82381"/>
                </a:moveTo>
                <a:lnTo>
                  <a:pt x="623904" y="82384"/>
                </a:lnTo>
                <a:lnTo>
                  <a:pt x="637867" y="170292"/>
                </a:lnTo>
                <a:lnTo>
                  <a:pt x="637867" y="170291"/>
                </a:lnTo>
                <a:close/>
                <a:moveTo>
                  <a:pt x="719907" y="0"/>
                </a:moveTo>
                <a:lnTo>
                  <a:pt x="775043" y="9088"/>
                </a:lnTo>
                <a:lnTo>
                  <a:pt x="773811" y="56402"/>
                </a:lnTo>
                <a:lnTo>
                  <a:pt x="838293" y="22621"/>
                </a:lnTo>
                <a:lnTo>
                  <a:pt x="844144" y="40598"/>
                </a:lnTo>
                <a:lnTo>
                  <a:pt x="806669" y="85739"/>
                </a:lnTo>
                <a:lnTo>
                  <a:pt x="809030" y="127422"/>
                </a:lnTo>
                <a:lnTo>
                  <a:pt x="835930" y="149942"/>
                </a:lnTo>
                <a:lnTo>
                  <a:pt x="828949" y="230049"/>
                </a:lnTo>
                <a:lnTo>
                  <a:pt x="779665" y="274004"/>
                </a:lnTo>
                <a:lnTo>
                  <a:pt x="794962" y="323589"/>
                </a:lnTo>
                <a:lnTo>
                  <a:pt x="835930" y="325860"/>
                </a:lnTo>
                <a:lnTo>
                  <a:pt x="858212" y="367545"/>
                </a:lnTo>
                <a:lnTo>
                  <a:pt x="887475" y="382163"/>
                </a:lnTo>
                <a:lnTo>
                  <a:pt x="887475" y="382167"/>
                </a:lnTo>
                <a:lnTo>
                  <a:pt x="981218" y="412589"/>
                </a:lnTo>
                <a:lnTo>
                  <a:pt x="1012842" y="403598"/>
                </a:lnTo>
                <a:lnTo>
                  <a:pt x="1079685" y="419405"/>
                </a:lnTo>
                <a:lnTo>
                  <a:pt x="1185133" y="458813"/>
                </a:lnTo>
                <a:lnTo>
                  <a:pt x="1226101" y="540006"/>
                </a:lnTo>
                <a:lnTo>
                  <a:pt x="1297667" y="555810"/>
                </a:lnTo>
                <a:lnTo>
                  <a:pt x="1410097" y="594135"/>
                </a:lnTo>
                <a:lnTo>
                  <a:pt x="1496859" y="638091"/>
                </a:lnTo>
                <a:lnTo>
                  <a:pt x="1533103" y="615568"/>
                </a:lnTo>
                <a:lnTo>
                  <a:pt x="1568322" y="572701"/>
                </a:lnTo>
                <a:lnTo>
                  <a:pt x="1547171" y="505039"/>
                </a:lnTo>
                <a:lnTo>
                  <a:pt x="1568322" y="462171"/>
                </a:lnTo>
                <a:lnTo>
                  <a:pt x="1623357" y="419405"/>
                </a:lnTo>
                <a:lnTo>
                  <a:pt x="1676132" y="408142"/>
                </a:lnTo>
                <a:lnTo>
                  <a:pt x="1782711" y="426119"/>
                </a:lnTo>
                <a:lnTo>
                  <a:pt x="1811974" y="465628"/>
                </a:lnTo>
                <a:lnTo>
                  <a:pt x="1841339" y="465628"/>
                </a:lnTo>
                <a:lnTo>
                  <a:pt x="1867110" y="481333"/>
                </a:lnTo>
                <a:lnTo>
                  <a:pt x="1946787" y="492692"/>
                </a:lnTo>
                <a:lnTo>
                  <a:pt x="1969069" y="523115"/>
                </a:lnTo>
                <a:lnTo>
                  <a:pt x="1942065" y="564798"/>
                </a:lnTo>
                <a:lnTo>
                  <a:pt x="1942065" y="564799"/>
                </a:lnTo>
                <a:lnTo>
                  <a:pt x="1958492" y="603124"/>
                </a:lnTo>
                <a:lnTo>
                  <a:pt x="1940936" y="658338"/>
                </a:lnTo>
                <a:lnTo>
                  <a:pt x="1958494" y="603122"/>
                </a:lnTo>
                <a:lnTo>
                  <a:pt x="1942065" y="564799"/>
                </a:lnTo>
                <a:lnTo>
                  <a:pt x="1969069" y="523115"/>
                </a:lnTo>
                <a:lnTo>
                  <a:pt x="2072156" y="519658"/>
                </a:lnTo>
                <a:lnTo>
                  <a:pt x="2150703" y="543364"/>
                </a:lnTo>
                <a:lnTo>
                  <a:pt x="2230380" y="570429"/>
                </a:lnTo>
                <a:lnTo>
                  <a:pt x="2268987" y="585047"/>
                </a:lnTo>
                <a:lnTo>
                  <a:pt x="2325254" y="556896"/>
                </a:lnTo>
                <a:lnTo>
                  <a:pt x="2356878" y="531017"/>
                </a:lnTo>
                <a:lnTo>
                  <a:pt x="2424850" y="523115"/>
                </a:lnTo>
                <a:lnTo>
                  <a:pt x="2482247" y="534375"/>
                </a:lnTo>
                <a:lnTo>
                  <a:pt x="2506888" y="579418"/>
                </a:lnTo>
                <a:lnTo>
                  <a:pt x="2523317" y="548993"/>
                </a:lnTo>
                <a:lnTo>
                  <a:pt x="2587695" y="570429"/>
                </a:lnTo>
                <a:lnTo>
                  <a:pt x="2649813" y="576058"/>
                </a:lnTo>
                <a:lnTo>
                  <a:pt x="2686161" y="553537"/>
                </a:lnTo>
                <a:lnTo>
                  <a:pt x="2743558" y="683131"/>
                </a:lnTo>
                <a:lnTo>
                  <a:pt x="2754133" y="706838"/>
                </a:lnTo>
                <a:lnTo>
                  <a:pt x="2734214" y="741804"/>
                </a:lnTo>
                <a:lnTo>
                  <a:pt x="2724870" y="809366"/>
                </a:lnTo>
                <a:lnTo>
                  <a:pt x="2707210" y="856779"/>
                </a:lnTo>
                <a:lnTo>
                  <a:pt x="2689652" y="872484"/>
                </a:lnTo>
                <a:lnTo>
                  <a:pt x="2660390" y="844332"/>
                </a:lnTo>
                <a:lnTo>
                  <a:pt x="2620552" y="802650"/>
                </a:lnTo>
                <a:lnTo>
                  <a:pt x="2552580" y="675229"/>
                </a:lnTo>
                <a:lnTo>
                  <a:pt x="2545597" y="683131"/>
                </a:lnTo>
                <a:lnTo>
                  <a:pt x="2586565" y="777856"/>
                </a:lnTo>
                <a:lnTo>
                  <a:pt x="2643962" y="868039"/>
                </a:lnTo>
                <a:lnTo>
                  <a:pt x="2714295" y="1006721"/>
                </a:lnTo>
                <a:lnTo>
                  <a:pt x="2748280" y="1056306"/>
                </a:lnTo>
                <a:lnTo>
                  <a:pt x="2777543" y="1106977"/>
                </a:lnTo>
                <a:lnTo>
                  <a:pt x="2854859" y="1206246"/>
                </a:lnTo>
                <a:lnTo>
                  <a:pt x="2839664" y="1221951"/>
                </a:lnTo>
                <a:lnTo>
                  <a:pt x="2845515" y="1280624"/>
                </a:lnTo>
                <a:lnTo>
                  <a:pt x="2945111" y="1360633"/>
                </a:lnTo>
                <a:lnTo>
                  <a:pt x="2960305" y="1379791"/>
                </a:lnTo>
                <a:lnTo>
                  <a:pt x="2960310" y="1379791"/>
                </a:lnTo>
                <a:lnTo>
                  <a:pt x="2990805" y="1466614"/>
                </a:lnTo>
                <a:lnTo>
                  <a:pt x="2974376" y="1483505"/>
                </a:lnTo>
                <a:lnTo>
                  <a:pt x="2990805" y="1574773"/>
                </a:lnTo>
                <a:lnTo>
                  <a:pt x="3027153" y="1681846"/>
                </a:lnTo>
                <a:lnTo>
                  <a:pt x="3059906" y="1704466"/>
                </a:lnTo>
                <a:lnTo>
                  <a:pt x="3104468" y="1738247"/>
                </a:lnTo>
                <a:lnTo>
                  <a:pt x="3066991" y="1789017"/>
                </a:lnTo>
                <a:lnTo>
                  <a:pt x="3008363" y="1803636"/>
                </a:lnTo>
                <a:lnTo>
                  <a:pt x="2984951" y="1831787"/>
                </a:lnTo>
                <a:lnTo>
                  <a:pt x="2979100" y="1890460"/>
                </a:lnTo>
                <a:lnTo>
                  <a:pt x="2950966" y="2023411"/>
                </a:lnTo>
                <a:lnTo>
                  <a:pt x="2961542" y="2058377"/>
                </a:lnTo>
                <a:lnTo>
                  <a:pt x="2961542" y="2058379"/>
                </a:lnTo>
                <a:lnTo>
                  <a:pt x="2961543" y="2058379"/>
                </a:lnTo>
                <a:lnTo>
                  <a:pt x="2950968" y="2023412"/>
                </a:lnTo>
                <a:lnTo>
                  <a:pt x="2979101" y="1890461"/>
                </a:lnTo>
                <a:lnTo>
                  <a:pt x="2984953" y="1831789"/>
                </a:lnTo>
                <a:lnTo>
                  <a:pt x="3008363" y="1803637"/>
                </a:lnTo>
                <a:lnTo>
                  <a:pt x="3066991" y="1789019"/>
                </a:lnTo>
                <a:lnTo>
                  <a:pt x="3104468" y="1738248"/>
                </a:lnTo>
                <a:lnTo>
                  <a:pt x="3159606" y="1841962"/>
                </a:lnTo>
                <a:lnTo>
                  <a:pt x="3185377" y="1924242"/>
                </a:lnTo>
                <a:lnTo>
                  <a:pt x="3232198" y="1968198"/>
                </a:lnTo>
                <a:lnTo>
                  <a:pt x="3348221" y="2052749"/>
                </a:lnTo>
                <a:lnTo>
                  <a:pt x="3395043" y="2103520"/>
                </a:lnTo>
                <a:lnTo>
                  <a:pt x="3441966" y="2155376"/>
                </a:lnTo>
                <a:lnTo>
                  <a:pt x="3470099" y="2186886"/>
                </a:lnTo>
                <a:lnTo>
                  <a:pt x="3511066" y="2213950"/>
                </a:lnTo>
                <a:lnTo>
                  <a:pt x="3498827" y="2224537"/>
                </a:lnTo>
                <a:lnTo>
                  <a:pt x="3511066" y="2213952"/>
                </a:lnTo>
                <a:lnTo>
                  <a:pt x="3530983" y="2239830"/>
                </a:lnTo>
                <a:lnTo>
                  <a:pt x="3529854" y="2278155"/>
                </a:lnTo>
                <a:lnTo>
                  <a:pt x="3484164" y="2299590"/>
                </a:lnTo>
                <a:lnTo>
                  <a:pt x="3521641" y="2323295"/>
                </a:lnTo>
                <a:lnTo>
                  <a:pt x="3491557" y="2371141"/>
                </a:lnTo>
                <a:lnTo>
                  <a:pt x="3492378" y="2371793"/>
                </a:lnTo>
                <a:lnTo>
                  <a:pt x="3475951" y="2403302"/>
                </a:lnTo>
                <a:lnTo>
                  <a:pt x="3507575" y="2452887"/>
                </a:lnTo>
                <a:lnTo>
                  <a:pt x="3539199" y="2496843"/>
                </a:lnTo>
                <a:lnTo>
                  <a:pt x="3570823" y="2527364"/>
                </a:lnTo>
                <a:lnTo>
                  <a:pt x="3570825" y="2527364"/>
                </a:lnTo>
                <a:lnTo>
                  <a:pt x="3539201" y="2496843"/>
                </a:lnTo>
                <a:lnTo>
                  <a:pt x="3507577" y="2452889"/>
                </a:lnTo>
                <a:lnTo>
                  <a:pt x="3475953" y="2403302"/>
                </a:lnTo>
                <a:lnTo>
                  <a:pt x="3492380" y="2371793"/>
                </a:lnTo>
                <a:lnTo>
                  <a:pt x="3521643" y="2323295"/>
                </a:lnTo>
                <a:lnTo>
                  <a:pt x="3547415" y="2340186"/>
                </a:lnTo>
                <a:lnTo>
                  <a:pt x="3564973" y="2377424"/>
                </a:lnTo>
                <a:lnTo>
                  <a:pt x="3603682" y="2414563"/>
                </a:lnTo>
                <a:lnTo>
                  <a:pt x="3643521" y="2414563"/>
                </a:lnTo>
                <a:lnTo>
                  <a:pt x="3719706" y="2392042"/>
                </a:lnTo>
                <a:lnTo>
                  <a:pt x="3809856" y="2380782"/>
                </a:lnTo>
                <a:lnTo>
                  <a:pt x="3880191" y="2354903"/>
                </a:lnTo>
                <a:lnTo>
                  <a:pt x="3921158" y="2347001"/>
                </a:lnTo>
                <a:lnTo>
                  <a:pt x="3948163" y="2332284"/>
                </a:lnTo>
                <a:lnTo>
                  <a:pt x="3994982" y="2328926"/>
                </a:lnTo>
                <a:lnTo>
                  <a:pt x="4021986" y="2326653"/>
                </a:lnTo>
                <a:lnTo>
                  <a:pt x="4058334" y="2313122"/>
                </a:lnTo>
                <a:lnTo>
                  <a:pt x="4100534" y="2305220"/>
                </a:lnTo>
                <a:lnTo>
                  <a:pt x="4139140" y="2273710"/>
                </a:lnTo>
                <a:lnTo>
                  <a:pt x="4169635" y="2273710"/>
                </a:lnTo>
                <a:lnTo>
                  <a:pt x="4173126" y="2298502"/>
                </a:lnTo>
                <a:lnTo>
                  <a:pt x="4167274" y="2350359"/>
                </a:lnTo>
                <a:lnTo>
                  <a:pt x="4169635" y="2397673"/>
                </a:lnTo>
                <a:lnTo>
                  <a:pt x="4153206" y="2430367"/>
                </a:lnTo>
                <a:lnTo>
                  <a:pt x="4134417" y="2526180"/>
                </a:lnTo>
                <a:lnTo>
                  <a:pt x="4098173" y="2626536"/>
                </a:lnTo>
                <a:lnTo>
                  <a:pt x="4051249" y="2741510"/>
                </a:lnTo>
                <a:lnTo>
                  <a:pt x="3983277" y="2873375"/>
                </a:lnTo>
                <a:lnTo>
                  <a:pt x="3915305" y="2972546"/>
                </a:lnTo>
                <a:lnTo>
                  <a:pt x="3821562" y="3095423"/>
                </a:lnTo>
                <a:lnTo>
                  <a:pt x="3739626" y="3167627"/>
                </a:lnTo>
                <a:lnTo>
                  <a:pt x="3617748" y="3257809"/>
                </a:lnTo>
                <a:lnTo>
                  <a:pt x="3540330" y="3325372"/>
                </a:lnTo>
                <a:lnTo>
                  <a:pt x="3451310" y="3433630"/>
                </a:lnTo>
                <a:lnTo>
                  <a:pt x="3431390" y="3482128"/>
                </a:lnTo>
                <a:lnTo>
                  <a:pt x="3412703" y="3502377"/>
                </a:lnTo>
                <a:lnTo>
                  <a:pt x="3412701" y="3502375"/>
                </a:lnTo>
                <a:lnTo>
                  <a:pt x="3354075" y="3538428"/>
                </a:lnTo>
                <a:lnTo>
                  <a:pt x="3334155" y="3575666"/>
                </a:lnTo>
                <a:lnTo>
                  <a:pt x="3302530" y="3581297"/>
                </a:lnTo>
                <a:lnTo>
                  <a:pt x="3289593" y="3645500"/>
                </a:lnTo>
                <a:lnTo>
                  <a:pt x="3263821" y="3681652"/>
                </a:lnTo>
                <a:lnTo>
                  <a:pt x="3246264" y="3741313"/>
                </a:lnTo>
                <a:lnTo>
                  <a:pt x="3213407" y="3770649"/>
                </a:lnTo>
                <a:lnTo>
                  <a:pt x="3096252" y="3681652"/>
                </a:lnTo>
                <a:lnTo>
                  <a:pt x="3090401" y="3629795"/>
                </a:lnTo>
                <a:lnTo>
                  <a:pt x="2795103" y="3445974"/>
                </a:lnTo>
                <a:lnTo>
                  <a:pt x="2800955" y="3380684"/>
                </a:lnTo>
                <a:lnTo>
                  <a:pt x="2779906" y="3346804"/>
                </a:lnTo>
                <a:lnTo>
                  <a:pt x="2779906" y="3342359"/>
                </a:lnTo>
                <a:lnTo>
                  <a:pt x="2803316" y="3305122"/>
                </a:lnTo>
                <a:lnTo>
                  <a:pt x="2843156" y="3246548"/>
                </a:lnTo>
                <a:lnTo>
                  <a:pt x="2873650" y="3179973"/>
                </a:lnTo>
                <a:lnTo>
                  <a:pt x="2836173" y="3077445"/>
                </a:lnTo>
                <a:lnTo>
                  <a:pt x="2825598" y="3032305"/>
                </a:lnTo>
                <a:lnTo>
                  <a:pt x="2785761" y="2970374"/>
                </a:lnTo>
                <a:lnTo>
                  <a:pt x="2785758" y="2970376"/>
                </a:lnTo>
                <a:lnTo>
                  <a:pt x="2825594" y="3032305"/>
                </a:lnTo>
                <a:lnTo>
                  <a:pt x="2836170" y="3077445"/>
                </a:lnTo>
                <a:lnTo>
                  <a:pt x="2873647" y="3179973"/>
                </a:lnTo>
                <a:lnTo>
                  <a:pt x="2843153" y="3246548"/>
                </a:lnTo>
                <a:lnTo>
                  <a:pt x="2803314" y="3305120"/>
                </a:lnTo>
                <a:lnTo>
                  <a:pt x="2779904" y="3342359"/>
                </a:lnTo>
                <a:lnTo>
                  <a:pt x="2779904" y="3346804"/>
                </a:lnTo>
                <a:lnTo>
                  <a:pt x="2775181" y="3338902"/>
                </a:lnTo>
                <a:lnTo>
                  <a:pt x="2732981" y="3322011"/>
                </a:lnTo>
                <a:lnTo>
                  <a:pt x="2697865" y="3343445"/>
                </a:lnTo>
                <a:lnTo>
                  <a:pt x="2646321" y="3355891"/>
                </a:lnTo>
                <a:lnTo>
                  <a:pt x="2608846" y="3408834"/>
                </a:lnTo>
                <a:lnTo>
                  <a:pt x="2613465" y="3443801"/>
                </a:lnTo>
                <a:lnTo>
                  <a:pt x="2522317" y="3442619"/>
                </a:lnTo>
                <a:lnTo>
                  <a:pt x="2612339" y="3443802"/>
                </a:lnTo>
                <a:lnTo>
                  <a:pt x="2609978" y="3496745"/>
                </a:lnTo>
                <a:lnTo>
                  <a:pt x="2593549" y="3561047"/>
                </a:lnTo>
                <a:lnTo>
                  <a:pt x="2617061" y="3594830"/>
                </a:lnTo>
                <a:lnTo>
                  <a:pt x="2653307" y="3574481"/>
                </a:lnTo>
                <a:lnTo>
                  <a:pt x="2700230" y="3568851"/>
                </a:lnTo>
                <a:lnTo>
                  <a:pt x="2710806" y="3580210"/>
                </a:lnTo>
                <a:lnTo>
                  <a:pt x="2757626" y="3557590"/>
                </a:lnTo>
                <a:lnTo>
                  <a:pt x="2726001" y="3527168"/>
                </a:lnTo>
                <a:lnTo>
                  <a:pt x="2752903" y="3485485"/>
                </a:lnTo>
                <a:lnTo>
                  <a:pt x="2793974" y="3445974"/>
                </a:lnTo>
                <a:lnTo>
                  <a:pt x="3090399" y="3629796"/>
                </a:lnTo>
                <a:lnTo>
                  <a:pt x="3096252" y="3681652"/>
                </a:lnTo>
                <a:lnTo>
                  <a:pt x="3213407" y="3770650"/>
                </a:lnTo>
                <a:lnTo>
                  <a:pt x="3172439" y="3882266"/>
                </a:lnTo>
                <a:lnTo>
                  <a:pt x="3177161" y="3933037"/>
                </a:lnTo>
                <a:lnTo>
                  <a:pt x="3228704" y="3964547"/>
                </a:lnTo>
                <a:lnTo>
                  <a:pt x="3231067" y="3987067"/>
                </a:lnTo>
                <a:lnTo>
                  <a:pt x="3206424" y="4042382"/>
                </a:lnTo>
                <a:lnTo>
                  <a:pt x="3209915" y="4069347"/>
                </a:lnTo>
                <a:lnTo>
                  <a:pt x="3204063" y="4113402"/>
                </a:lnTo>
                <a:lnTo>
                  <a:pt x="3231067" y="4167432"/>
                </a:lnTo>
                <a:lnTo>
                  <a:pt x="3262691" y="4256527"/>
                </a:lnTo>
                <a:lnTo>
                  <a:pt x="3291954" y="4276777"/>
                </a:lnTo>
                <a:lnTo>
                  <a:pt x="3225214" y="4328633"/>
                </a:lnTo>
                <a:lnTo>
                  <a:pt x="3133795" y="4363575"/>
                </a:lnTo>
                <a:lnTo>
                  <a:pt x="3134963" y="4363601"/>
                </a:lnTo>
                <a:lnTo>
                  <a:pt x="3225215" y="4328634"/>
                </a:lnTo>
                <a:lnTo>
                  <a:pt x="3293188" y="4276777"/>
                </a:lnTo>
                <a:lnTo>
                  <a:pt x="3304892" y="4317374"/>
                </a:lnTo>
                <a:lnTo>
                  <a:pt x="3297807" y="4406470"/>
                </a:lnTo>
                <a:lnTo>
                  <a:pt x="3303661" y="4485390"/>
                </a:lnTo>
                <a:lnTo>
                  <a:pt x="3301298" y="4623972"/>
                </a:lnTo>
                <a:lnTo>
                  <a:pt x="3314236" y="4667927"/>
                </a:lnTo>
                <a:lnTo>
                  <a:pt x="3286103" y="4733316"/>
                </a:lnTo>
                <a:lnTo>
                  <a:pt x="3250986" y="4795347"/>
                </a:lnTo>
                <a:lnTo>
                  <a:pt x="3197082" y="4849476"/>
                </a:lnTo>
                <a:lnTo>
                  <a:pt x="3120896" y="4885530"/>
                </a:lnTo>
                <a:lnTo>
                  <a:pt x="3027153" y="4928398"/>
                </a:lnTo>
                <a:lnTo>
                  <a:pt x="2928684" y="5024210"/>
                </a:lnTo>
                <a:lnTo>
                  <a:pt x="2897060" y="5039915"/>
                </a:lnTo>
                <a:lnTo>
                  <a:pt x="2837303" y="5105305"/>
                </a:lnTo>
                <a:lnTo>
                  <a:pt x="2803317" y="5124467"/>
                </a:lnTo>
                <a:lnTo>
                  <a:pt x="2792742" y="5189856"/>
                </a:lnTo>
                <a:lnTo>
                  <a:pt x="2827959" y="5257517"/>
                </a:lnTo>
                <a:lnTo>
                  <a:pt x="2839665" y="5309374"/>
                </a:lnTo>
                <a:lnTo>
                  <a:pt x="2839665" y="5336439"/>
                </a:lnTo>
                <a:lnTo>
                  <a:pt x="2854861" y="5331895"/>
                </a:lnTo>
                <a:lnTo>
                  <a:pt x="2846646" y="5418719"/>
                </a:lnTo>
                <a:lnTo>
                  <a:pt x="2831451" y="5461489"/>
                </a:lnTo>
                <a:lnTo>
                  <a:pt x="2849007" y="5477293"/>
                </a:lnTo>
                <a:lnTo>
                  <a:pt x="2834941" y="5513345"/>
                </a:lnTo>
                <a:lnTo>
                  <a:pt x="2798696" y="5546040"/>
                </a:lnTo>
                <a:lnTo>
                  <a:pt x="2731855" y="5576562"/>
                </a:lnTo>
                <a:lnTo>
                  <a:pt x="2632257" y="5624961"/>
                </a:lnTo>
                <a:lnTo>
                  <a:pt x="2593548" y="5658842"/>
                </a:lnTo>
                <a:lnTo>
                  <a:pt x="2598272" y="5694894"/>
                </a:lnTo>
                <a:lnTo>
                  <a:pt x="2618191" y="5702796"/>
                </a:lnTo>
                <a:lnTo>
                  <a:pt x="2608849" y="5749020"/>
                </a:lnTo>
                <a:lnTo>
                  <a:pt x="2583076" y="5815496"/>
                </a:lnTo>
                <a:lnTo>
                  <a:pt x="2567779" y="5888787"/>
                </a:lnTo>
                <a:lnTo>
                  <a:pt x="2544367" y="5929385"/>
                </a:lnTo>
                <a:lnTo>
                  <a:pt x="2486971" y="5974426"/>
                </a:lnTo>
                <a:lnTo>
                  <a:pt x="2469414" y="5986872"/>
                </a:lnTo>
                <a:lnTo>
                  <a:pt x="2433066" y="6033000"/>
                </a:lnTo>
                <a:lnTo>
                  <a:pt x="2406062" y="6078140"/>
                </a:lnTo>
                <a:lnTo>
                  <a:pt x="2356880" y="6143529"/>
                </a:lnTo>
                <a:lnTo>
                  <a:pt x="2258515" y="6234798"/>
                </a:lnTo>
                <a:lnTo>
                  <a:pt x="2198758" y="6288927"/>
                </a:lnTo>
                <a:lnTo>
                  <a:pt x="2135407" y="6329523"/>
                </a:lnTo>
                <a:lnTo>
                  <a:pt x="2049877" y="6364489"/>
                </a:lnTo>
                <a:lnTo>
                  <a:pt x="2011270" y="6368934"/>
                </a:lnTo>
                <a:lnTo>
                  <a:pt x="1999463" y="6393728"/>
                </a:lnTo>
                <a:lnTo>
                  <a:pt x="1952642" y="6380195"/>
                </a:lnTo>
                <a:lnTo>
                  <a:pt x="1912804" y="6397185"/>
                </a:lnTo>
                <a:lnTo>
                  <a:pt x="1829636" y="6380195"/>
                </a:lnTo>
                <a:lnTo>
                  <a:pt x="1780352" y="6391554"/>
                </a:lnTo>
                <a:lnTo>
                  <a:pt x="1748727" y="6387010"/>
                </a:lnTo>
                <a:lnTo>
                  <a:pt x="1666688" y="6421976"/>
                </a:lnTo>
                <a:lnTo>
                  <a:pt x="1598716" y="6436596"/>
                </a:lnTo>
                <a:lnTo>
                  <a:pt x="1548406" y="6470377"/>
                </a:lnTo>
                <a:lnTo>
                  <a:pt x="1513187" y="6472648"/>
                </a:lnTo>
                <a:lnTo>
                  <a:pt x="1481563" y="6441139"/>
                </a:lnTo>
                <a:lnTo>
                  <a:pt x="1455791" y="6438868"/>
                </a:lnTo>
                <a:lnTo>
                  <a:pt x="1425296" y="6398272"/>
                </a:lnTo>
                <a:lnTo>
                  <a:pt x="1420676" y="6410716"/>
                </a:lnTo>
                <a:lnTo>
                  <a:pt x="1412462" y="6387010"/>
                </a:lnTo>
                <a:lnTo>
                  <a:pt x="1414823" y="6333968"/>
                </a:lnTo>
                <a:lnTo>
                  <a:pt x="1393672" y="6274308"/>
                </a:lnTo>
                <a:lnTo>
                  <a:pt x="1419443" y="6257318"/>
                </a:lnTo>
                <a:lnTo>
                  <a:pt x="1421805" y="6189755"/>
                </a:lnTo>
                <a:lnTo>
                  <a:pt x="1374984" y="6105204"/>
                </a:lnTo>
                <a:lnTo>
                  <a:pt x="1338636" y="6030827"/>
                </a:lnTo>
                <a:lnTo>
                  <a:pt x="1338636" y="6029641"/>
                </a:lnTo>
                <a:lnTo>
                  <a:pt x="1287093" y="5913580"/>
                </a:lnTo>
                <a:lnTo>
                  <a:pt x="1326932" y="5868441"/>
                </a:lnTo>
                <a:lnTo>
                  <a:pt x="1357426" y="5894418"/>
                </a:lnTo>
                <a:lnTo>
                  <a:pt x="1357426" y="5894417"/>
                </a:lnTo>
                <a:lnTo>
                  <a:pt x="1326932" y="5868439"/>
                </a:lnTo>
                <a:lnTo>
                  <a:pt x="1287093" y="5913579"/>
                </a:lnTo>
                <a:lnTo>
                  <a:pt x="1229697" y="5845919"/>
                </a:lnTo>
                <a:lnTo>
                  <a:pt x="1202692" y="5779443"/>
                </a:lnTo>
                <a:lnTo>
                  <a:pt x="1187497" y="5692620"/>
                </a:lnTo>
                <a:lnTo>
                  <a:pt x="1169939" y="5627229"/>
                </a:lnTo>
                <a:lnTo>
                  <a:pt x="1146425" y="5489735"/>
                </a:lnTo>
                <a:lnTo>
                  <a:pt x="1146425" y="5382663"/>
                </a:lnTo>
                <a:lnTo>
                  <a:pt x="1138212" y="5332979"/>
                </a:lnTo>
                <a:lnTo>
                  <a:pt x="1107820" y="5296925"/>
                </a:lnTo>
                <a:lnTo>
                  <a:pt x="1067982" y="5223634"/>
                </a:lnTo>
                <a:lnTo>
                  <a:pt x="1026910" y="5114388"/>
                </a:lnTo>
                <a:lnTo>
                  <a:pt x="1010585" y="5057988"/>
                </a:lnTo>
                <a:lnTo>
                  <a:pt x="946104" y="4971164"/>
                </a:lnTo>
                <a:lnTo>
                  <a:pt x="943742" y="4902416"/>
                </a:lnTo>
                <a:lnTo>
                  <a:pt x="982233" y="4885621"/>
                </a:lnTo>
                <a:lnTo>
                  <a:pt x="942613" y="4902419"/>
                </a:lnTo>
                <a:lnTo>
                  <a:pt x="935528" y="4846018"/>
                </a:lnTo>
                <a:lnTo>
                  <a:pt x="948465" y="4768281"/>
                </a:lnTo>
                <a:lnTo>
                  <a:pt x="977728" y="4684817"/>
                </a:lnTo>
                <a:lnTo>
                  <a:pt x="982451" y="4646492"/>
                </a:lnTo>
                <a:lnTo>
                  <a:pt x="1010585" y="4566483"/>
                </a:lnTo>
                <a:lnTo>
                  <a:pt x="1029271" y="4530431"/>
                </a:lnTo>
                <a:lnTo>
                  <a:pt x="1077324" y="4470671"/>
                </a:lnTo>
                <a:lnTo>
                  <a:pt x="1104328" y="4431260"/>
                </a:lnTo>
                <a:lnTo>
                  <a:pt x="1114801" y="4363599"/>
                </a:lnTo>
                <a:lnTo>
                  <a:pt x="1110181" y="4312829"/>
                </a:lnTo>
                <a:lnTo>
                  <a:pt x="1086668" y="4281319"/>
                </a:lnTo>
                <a:lnTo>
                  <a:pt x="1064489" y="4227190"/>
                </a:lnTo>
                <a:lnTo>
                  <a:pt x="1045700" y="4173061"/>
                </a:lnTo>
                <a:lnTo>
                  <a:pt x="1050423" y="4155085"/>
                </a:lnTo>
                <a:lnTo>
                  <a:pt x="1074963" y="4119031"/>
                </a:lnTo>
                <a:lnTo>
                  <a:pt x="1051553" y="4032207"/>
                </a:lnTo>
                <a:lnTo>
                  <a:pt x="1035124" y="3972449"/>
                </a:lnTo>
                <a:lnTo>
                  <a:pt x="994156" y="3916047"/>
                </a:lnTo>
                <a:lnTo>
                  <a:pt x="1002371" y="3899157"/>
                </a:lnTo>
                <a:lnTo>
                  <a:pt x="1035124" y="3885624"/>
                </a:lnTo>
                <a:lnTo>
                  <a:pt x="1060895" y="3887896"/>
                </a:lnTo>
                <a:lnTo>
                  <a:pt x="1087899" y="3877722"/>
                </a:lnTo>
                <a:lnTo>
                  <a:pt x="1331552" y="3878908"/>
                </a:lnTo>
                <a:lnTo>
                  <a:pt x="1331550" y="3878907"/>
                </a:lnTo>
                <a:lnTo>
                  <a:pt x="1087899" y="3877721"/>
                </a:lnTo>
                <a:lnTo>
                  <a:pt x="1060895" y="3887896"/>
                </a:lnTo>
                <a:lnTo>
                  <a:pt x="1035123" y="3885623"/>
                </a:lnTo>
                <a:lnTo>
                  <a:pt x="1002369" y="3899156"/>
                </a:lnTo>
                <a:lnTo>
                  <a:pt x="990664" y="3871005"/>
                </a:lnTo>
                <a:lnTo>
                  <a:pt x="969513" y="3803344"/>
                </a:lnTo>
                <a:lnTo>
                  <a:pt x="1002371" y="3765020"/>
                </a:lnTo>
                <a:lnTo>
                  <a:pt x="1028092" y="3749246"/>
                </a:lnTo>
                <a:lnTo>
                  <a:pt x="1001141" y="3765020"/>
                </a:lnTo>
                <a:lnTo>
                  <a:pt x="969516" y="3802257"/>
                </a:lnTo>
                <a:lnTo>
                  <a:pt x="901544" y="3708717"/>
                </a:lnTo>
                <a:lnTo>
                  <a:pt x="902249" y="3708162"/>
                </a:lnTo>
                <a:lnTo>
                  <a:pt x="817244" y="3618534"/>
                </a:lnTo>
                <a:lnTo>
                  <a:pt x="763338" y="3544059"/>
                </a:lnTo>
                <a:lnTo>
                  <a:pt x="712924" y="3450518"/>
                </a:lnTo>
                <a:lnTo>
                  <a:pt x="716415" y="3421183"/>
                </a:lnTo>
                <a:lnTo>
                  <a:pt x="735205" y="3393031"/>
                </a:lnTo>
                <a:lnTo>
                  <a:pt x="753892" y="3327642"/>
                </a:lnTo>
                <a:lnTo>
                  <a:pt x="770321" y="3259982"/>
                </a:lnTo>
                <a:lnTo>
                  <a:pt x="755125" y="3247635"/>
                </a:lnTo>
                <a:lnTo>
                  <a:pt x="783259" y="3146192"/>
                </a:lnTo>
                <a:lnTo>
                  <a:pt x="783261" y="3146192"/>
                </a:lnTo>
                <a:lnTo>
                  <a:pt x="794965" y="3076260"/>
                </a:lnTo>
                <a:lnTo>
                  <a:pt x="763342" y="3016502"/>
                </a:lnTo>
                <a:lnTo>
                  <a:pt x="724632" y="3000797"/>
                </a:lnTo>
                <a:lnTo>
                  <a:pt x="709435" y="2961286"/>
                </a:lnTo>
                <a:lnTo>
                  <a:pt x="688285" y="2948939"/>
                </a:lnTo>
                <a:lnTo>
                  <a:pt x="688285" y="2924146"/>
                </a:lnTo>
                <a:lnTo>
                  <a:pt x="709435" y="2859844"/>
                </a:lnTo>
                <a:lnTo>
                  <a:pt x="748042" y="2774205"/>
                </a:lnTo>
                <a:lnTo>
                  <a:pt x="771452" y="2773019"/>
                </a:lnTo>
                <a:lnTo>
                  <a:pt x="820737" y="2721163"/>
                </a:lnTo>
                <a:lnTo>
                  <a:pt x="851129" y="2718989"/>
                </a:lnTo>
                <a:lnTo>
                  <a:pt x="898052" y="2756130"/>
                </a:lnTo>
                <a:lnTo>
                  <a:pt x="955447" y="2724620"/>
                </a:lnTo>
                <a:lnTo>
                  <a:pt x="962532" y="2688567"/>
                </a:lnTo>
                <a:lnTo>
                  <a:pt x="980090" y="2651329"/>
                </a:lnTo>
                <a:lnTo>
                  <a:pt x="991795" y="2606189"/>
                </a:lnTo>
                <a:lnTo>
                  <a:pt x="1035124" y="2570136"/>
                </a:lnTo>
                <a:lnTo>
                  <a:pt x="1051553" y="2507018"/>
                </a:lnTo>
                <a:lnTo>
                  <a:pt x="1069111" y="2486768"/>
                </a:lnTo>
                <a:lnTo>
                  <a:pt x="1079686" y="2440542"/>
                </a:lnTo>
                <a:lnTo>
                  <a:pt x="1101967" y="2384141"/>
                </a:lnTo>
                <a:lnTo>
                  <a:pt x="1168707" y="2313122"/>
                </a:lnTo>
                <a:lnTo>
                  <a:pt x="1173429" y="2283885"/>
                </a:lnTo>
                <a:lnTo>
                  <a:pt x="1181644" y="2268080"/>
                </a:lnTo>
                <a:lnTo>
                  <a:pt x="1181644" y="2268079"/>
                </a:lnTo>
                <a:lnTo>
                  <a:pt x="1173429" y="2283882"/>
                </a:lnTo>
                <a:lnTo>
                  <a:pt x="1168706" y="2313120"/>
                </a:lnTo>
                <a:lnTo>
                  <a:pt x="1101967" y="2384140"/>
                </a:lnTo>
                <a:lnTo>
                  <a:pt x="1079686" y="2440540"/>
                </a:lnTo>
                <a:lnTo>
                  <a:pt x="1069109" y="2486767"/>
                </a:lnTo>
                <a:lnTo>
                  <a:pt x="1051553" y="2505929"/>
                </a:lnTo>
                <a:lnTo>
                  <a:pt x="1035124" y="2570134"/>
                </a:lnTo>
                <a:lnTo>
                  <a:pt x="991795" y="2606186"/>
                </a:lnTo>
                <a:lnTo>
                  <a:pt x="980090" y="2651328"/>
                </a:lnTo>
                <a:lnTo>
                  <a:pt x="962532" y="2688565"/>
                </a:lnTo>
                <a:lnTo>
                  <a:pt x="955447" y="2724619"/>
                </a:lnTo>
                <a:lnTo>
                  <a:pt x="898050" y="2756127"/>
                </a:lnTo>
                <a:lnTo>
                  <a:pt x="851127" y="2718988"/>
                </a:lnTo>
                <a:lnTo>
                  <a:pt x="820735" y="2721162"/>
                </a:lnTo>
                <a:lnTo>
                  <a:pt x="771450" y="2773018"/>
                </a:lnTo>
                <a:lnTo>
                  <a:pt x="748041" y="2774204"/>
                </a:lnTo>
                <a:lnTo>
                  <a:pt x="709434" y="2859842"/>
                </a:lnTo>
                <a:lnTo>
                  <a:pt x="688283" y="2924144"/>
                </a:lnTo>
                <a:lnTo>
                  <a:pt x="603986" y="2955654"/>
                </a:lnTo>
                <a:lnTo>
                  <a:pt x="572258" y="2952296"/>
                </a:lnTo>
                <a:lnTo>
                  <a:pt x="540634" y="2971458"/>
                </a:lnTo>
                <a:lnTo>
                  <a:pt x="475025" y="2969185"/>
                </a:lnTo>
                <a:lnTo>
                  <a:pt x="430565" y="2913971"/>
                </a:lnTo>
                <a:lnTo>
                  <a:pt x="402431" y="2848582"/>
                </a:lnTo>
                <a:lnTo>
                  <a:pt x="346166" y="2790008"/>
                </a:lnTo>
                <a:lnTo>
                  <a:pt x="282916" y="2790008"/>
                </a:lnTo>
                <a:lnTo>
                  <a:pt x="211351" y="2790008"/>
                </a:lnTo>
                <a:lnTo>
                  <a:pt x="143483" y="2801268"/>
                </a:lnTo>
                <a:lnTo>
                  <a:pt x="123563" y="2739237"/>
                </a:lnTo>
                <a:lnTo>
                  <a:pt x="125822" y="2532994"/>
                </a:lnTo>
                <a:lnTo>
                  <a:pt x="125821" y="2532992"/>
                </a:lnTo>
                <a:lnTo>
                  <a:pt x="123562" y="2739234"/>
                </a:lnTo>
                <a:lnTo>
                  <a:pt x="143481" y="2801265"/>
                </a:lnTo>
                <a:lnTo>
                  <a:pt x="76639" y="2819242"/>
                </a:lnTo>
                <a:lnTo>
                  <a:pt x="59080" y="2788819"/>
                </a:lnTo>
                <a:lnTo>
                  <a:pt x="36813" y="2732549"/>
                </a:lnTo>
                <a:lnTo>
                  <a:pt x="36802" y="2732521"/>
                </a:lnTo>
                <a:lnTo>
                  <a:pt x="36800" y="2732518"/>
                </a:lnTo>
                <a:lnTo>
                  <a:pt x="36813" y="2732549"/>
                </a:lnTo>
                <a:lnTo>
                  <a:pt x="57850" y="2788824"/>
                </a:lnTo>
                <a:lnTo>
                  <a:pt x="75511" y="2819246"/>
                </a:lnTo>
                <a:lnTo>
                  <a:pt x="0" y="2851531"/>
                </a:lnTo>
                <a:lnTo>
                  <a:pt x="0" y="2410363"/>
                </a:lnTo>
                <a:lnTo>
                  <a:pt x="20373" y="2437182"/>
                </a:lnTo>
                <a:lnTo>
                  <a:pt x="20373" y="2437181"/>
                </a:lnTo>
                <a:lnTo>
                  <a:pt x="0" y="2410361"/>
                </a:lnTo>
                <a:lnTo>
                  <a:pt x="0" y="1405092"/>
                </a:lnTo>
                <a:lnTo>
                  <a:pt x="137529" y="1503757"/>
                </a:lnTo>
                <a:lnTo>
                  <a:pt x="156188" y="1545245"/>
                </a:lnTo>
                <a:lnTo>
                  <a:pt x="137526" y="1502669"/>
                </a:lnTo>
                <a:lnTo>
                  <a:pt x="0" y="1404999"/>
                </a:lnTo>
                <a:lnTo>
                  <a:pt x="0" y="116868"/>
                </a:lnTo>
                <a:lnTo>
                  <a:pt x="28586" y="95915"/>
                </a:lnTo>
                <a:lnTo>
                  <a:pt x="102409" y="67663"/>
                </a:lnTo>
                <a:lnTo>
                  <a:pt x="232502" y="50771"/>
                </a:lnTo>
                <a:lnTo>
                  <a:pt x="360230" y="44055"/>
                </a:lnTo>
                <a:lnTo>
                  <a:pt x="400068" y="57492"/>
                </a:lnTo>
                <a:lnTo>
                  <a:pt x="471531" y="20348"/>
                </a:lnTo>
                <a:lnTo>
                  <a:pt x="553571" y="20348"/>
                </a:lnTo>
                <a:lnTo>
                  <a:pt x="586324" y="41786"/>
                </a:lnTo>
                <a:lnTo>
                  <a:pt x="637826" y="36292"/>
                </a:lnTo>
                <a:lnTo>
                  <a:pt x="637867" y="36152"/>
                </a:lnTo>
                <a:close/>
              </a:path>
            </a:pathLst>
          </a:custGeom>
          <a:noFill/>
          <a:ln>
            <a:noFill/>
          </a:ln>
          <a:effectLst>
            <a:outerShdw blurRad="57150" dist="19050" dir="5400000" algn="bl" rotWithShape="0">
              <a:srgbClr val="000000">
                <a:alpha val="49800"/>
              </a:srgbClr>
            </a:outerShdw>
          </a:effectLst>
        </p:spPr>
      </p:pic>
      <p:sp>
        <p:nvSpPr>
          <p:cNvPr id="235" name="Google Shape;235;p13"/>
          <p:cNvSpPr txBox="1">
            <a:spLocks noGrp="1"/>
          </p:cNvSpPr>
          <p:nvPr>
            <p:ph type="subTitle" idx="1"/>
          </p:nvPr>
        </p:nvSpPr>
        <p:spPr>
          <a:xfrm>
            <a:off x="5056206" y="1729975"/>
            <a:ext cx="6406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236" name="Google Shape;236;p13"/>
          <p:cNvSpPr txBox="1">
            <a:spLocks noGrp="1"/>
          </p:cNvSpPr>
          <p:nvPr>
            <p:ph type="subTitle" idx="2"/>
          </p:nvPr>
        </p:nvSpPr>
        <p:spPr>
          <a:xfrm>
            <a:off x="5056206" y="3334868"/>
            <a:ext cx="6406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237" name="Google Shape;237;p13"/>
          <p:cNvSpPr txBox="1">
            <a:spLocks noGrp="1"/>
          </p:cNvSpPr>
          <p:nvPr>
            <p:ph type="subTitle" idx="3"/>
          </p:nvPr>
        </p:nvSpPr>
        <p:spPr>
          <a:xfrm>
            <a:off x="5056206" y="4939762"/>
            <a:ext cx="6406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238" name="Google Shape;238;p13"/>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239" name="Google Shape;239;p13"/>
          <p:cNvSpPr txBox="1">
            <a:spLocks noGrp="1"/>
          </p:cNvSpPr>
          <p:nvPr>
            <p:ph type="body" idx="4"/>
          </p:nvPr>
        </p:nvSpPr>
        <p:spPr>
          <a:xfrm>
            <a:off x="5056200" y="2167925"/>
            <a:ext cx="6406800" cy="9252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
        <p:nvSpPr>
          <p:cNvPr id="240" name="Google Shape;240;p13"/>
          <p:cNvSpPr txBox="1">
            <a:spLocks noGrp="1"/>
          </p:cNvSpPr>
          <p:nvPr>
            <p:ph type="body" idx="5"/>
          </p:nvPr>
        </p:nvSpPr>
        <p:spPr>
          <a:xfrm>
            <a:off x="5056200" y="3761388"/>
            <a:ext cx="6406800" cy="9234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
        <p:nvSpPr>
          <p:cNvPr id="241" name="Google Shape;241;p13"/>
          <p:cNvSpPr txBox="1">
            <a:spLocks noGrp="1"/>
          </p:cNvSpPr>
          <p:nvPr>
            <p:ph type="body" idx="6"/>
          </p:nvPr>
        </p:nvSpPr>
        <p:spPr>
          <a:xfrm>
            <a:off x="5056200" y="5353050"/>
            <a:ext cx="6407700" cy="9234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Tree>
    <p:extLst>
      <p:ext uri="{BB962C8B-B14F-4D97-AF65-F5344CB8AC3E}">
        <p14:creationId xmlns:p14="http://schemas.microsoft.com/office/powerpoint/2010/main" val="27722533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572000" y="1524001"/>
            <a:ext cx="7238427" cy="553998"/>
          </a:xfrm>
        </p:spPr>
        <p:txBody>
          <a:bodyPr lIns="0" tIns="0" rIns="0" bIns="0"/>
          <a:lstStyle>
            <a:lvl1pPr>
              <a:defRPr sz="3600" b="1" i="0">
                <a:solidFill>
                  <a:schemeClr val="bg1"/>
                </a:solidFill>
                <a:latin typeface="Ubuntu"/>
                <a:cs typeface="Ubuntu"/>
              </a:defRPr>
            </a:lvl1pPr>
          </a:lstStyle>
          <a:p>
            <a:r>
              <a:rPr lang="en-US"/>
              <a:t>Click to edit Master title style</a:t>
            </a:r>
            <a:endParaRPr/>
          </a:p>
        </p:txBody>
      </p:sp>
      <p:sp>
        <p:nvSpPr>
          <p:cNvPr id="10" name="Holder 3">
            <a:extLst>
              <a:ext uri="{FF2B5EF4-FFF2-40B4-BE49-F238E27FC236}">
                <a16:creationId xmlns:a16="http://schemas.microsoft.com/office/drawing/2014/main" id="{FA15D062-7D57-ED44-8E3C-E49CF0B9F331}"/>
              </a:ext>
            </a:extLst>
          </p:cNvPr>
          <p:cNvSpPr>
            <a:spLocks noGrp="1"/>
          </p:cNvSpPr>
          <p:nvPr>
            <p:ph type="body" idx="1"/>
          </p:nvPr>
        </p:nvSpPr>
        <p:spPr>
          <a:xfrm>
            <a:off x="4572001" y="2298625"/>
            <a:ext cx="7238427" cy="276999"/>
          </a:xfrm>
        </p:spPr>
        <p:txBody>
          <a:bodyPr lIns="0" tIns="0" rIns="0" bIns="0"/>
          <a:lstStyle>
            <a:lvl1pPr>
              <a:defRPr sz="1800" b="1" i="0">
                <a:solidFill>
                  <a:srgbClr val="14355B"/>
                </a:solidFill>
                <a:latin typeface="Ubuntu"/>
                <a:cs typeface="Ubuntu"/>
              </a:defRPr>
            </a:lvl1pPr>
          </a:lstStyle>
          <a:p>
            <a:pPr lvl="0"/>
            <a:r>
              <a:rPr lang="en-US"/>
              <a:t>Click to edit Master text styles</a:t>
            </a:r>
          </a:p>
        </p:txBody>
      </p:sp>
      <p:sp>
        <p:nvSpPr>
          <p:cNvPr id="11" name="Text Placeholder 13">
            <a:extLst>
              <a:ext uri="{FF2B5EF4-FFF2-40B4-BE49-F238E27FC236}">
                <a16:creationId xmlns:a16="http://schemas.microsoft.com/office/drawing/2014/main" id="{307292F3-80B0-3A4D-9177-56C1C8FEDE93}"/>
              </a:ext>
            </a:extLst>
          </p:cNvPr>
          <p:cNvSpPr>
            <a:spLocks noGrp="1"/>
          </p:cNvSpPr>
          <p:nvPr>
            <p:ph type="body" sz="quarter" idx="11"/>
          </p:nvPr>
        </p:nvSpPr>
        <p:spPr>
          <a:xfrm>
            <a:off x="4572001" y="3048000"/>
            <a:ext cx="7238427" cy="1384995"/>
          </a:xfrm>
        </p:spPr>
        <p:txBody>
          <a:bodyPr/>
          <a:lstStyle>
            <a:lvl1pPr>
              <a:lnSpc>
                <a:spcPct val="100000"/>
              </a:lnSpc>
              <a:defRPr sz="1800" b="0">
                <a:solidFill>
                  <a:schemeClr val="bg2">
                    <a:lumMod val="50000"/>
                  </a:schemeClr>
                </a:solidFill>
              </a:defRPr>
            </a:lvl1pPr>
            <a:lvl2pPr>
              <a:lnSpc>
                <a:spcPct val="100000"/>
              </a:lnSpc>
              <a:defRPr sz="1800" b="0">
                <a:solidFill>
                  <a:schemeClr val="bg2">
                    <a:lumMod val="50000"/>
                  </a:schemeClr>
                </a:solidFill>
              </a:defRPr>
            </a:lvl2pPr>
            <a:lvl3pPr>
              <a:lnSpc>
                <a:spcPct val="100000"/>
              </a:lnSpc>
              <a:defRPr sz="1800" b="0">
                <a:solidFill>
                  <a:schemeClr val="bg2">
                    <a:lumMod val="50000"/>
                  </a:schemeClr>
                </a:solidFill>
              </a:defRPr>
            </a:lvl3pPr>
            <a:lvl4pPr>
              <a:lnSpc>
                <a:spcPct val="100000"/>
              </a:lnSpc>
              <a:defRPr sz="1800" b="0">
                <a:solidFill>
                  <a:schemeClr val="bg2">
                    <a:lumMod val="50000"/>
                  </a:schemeClr>
                </a:solidFill>
              </a:defRPr>
            </a:lvl4pPr>
            <a:lvl5pPr>
              <a:lnSpc>
                <a:spcPct val="100000"/>
              </a:lnSpc>
              <a:defRPr sz="1800" b="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Media Placeholder 22">
            <a:extLst>
              <a:ext uri="{FF2B5EF4-FFF2-40B4-BE49-F238E27FC236}">
                <a16:creationId xmlns:a16="http://schemas.microsoft.com/office/drawing/2014/main" id="{74E0B941-F76D-6A4A-A9A0-76A10C3F81B1}"/>
              </a:ext>
            </a:extLst>
          </p:cNvPr>
          <p:cNvSpPr>
            <a:spLocks noGrp="1"/>
          </p:cNvSpPr>
          <p:nvPr>
            <p:ph type="media" sz="quarter" idx="12"/>
          </p:nvPr>
        </p:nvSpPr>
        <p:spPr>
          <a:xfrm>
            <a:off x="0" y="596444"/>
            <a:ext cx="4127500" cy="276999"/>
          </a:xfrm>
        </p:spPr>
        <p:txBody>
          <a:bodyPr/>
          <a:lstStyle/>
          <a:p>
            <a:r>
              <a:rPr lang="en-US"/>
              <a:t>Click icon to add media</a:t>
            </a:r>
          </a:p>
        </p:txBody>
      </p:sp>
    </p:spTree>
    <p:extLst>
      <p:ext uri="{BB962C8B-B14F-4D97-AF65-F5344CB8AC3E}">
        <p14:creationId xmlns:p14="http://schemas.microsoft.com/office/powerpoint/2010/main" val="35946507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010 Text and Image">
  <p:cSld name="010 Text and Image">
    <p:spTree>
      <p:nvGrpSpPr>
        <p:cNvPr id="1" name="Shape 242"/>
        <p:cNvGrpSpPr/>
        <p:nvPr/>
      </p:nvGrpSpPr>
      <p:grpSpPr>
        <a:xfrm>
          <a:off x="0" y="0"/>
          <a:ext cx="0" cy="0"/>
          <a:chOff x="0" y="0"/>
          <a:chExt cx="0" cy="0"/>
        </a:xfrm>
      </p:grpSpPr>
      <p:sp>
        <p:nvSpPr>
          <p:cNvPr id="243" name="Google Shape;243;p14"/>
          <p:cNvSpPr txBox="1">
            <a:spLocks noGrp="1"/>
          </p:cNvSpPr>
          <p:nvPr>
            <p:ph type="title"/>
          </p:nvPr>
        </p:nvSpPr>
        <p:spPr>
          <a:xfrm>
            <a:off x="411275" y="1727000"/>
            <a:ext cx="4458300" cy="2377200"/>
          </a:xfrm>
          <a:prstGeom prst="rect">
            <a:avLst/>
          </a:prstGeom>
        </p:spPr>
        <p:txBody>
          <a:bodyPr spcFirstLastPara="1" wrap="square" lIns="121900" tIns="121900" rIns="121900" bIns="121900" anchor="ctr" anchorCtr="0">
            <a:noAutofit/>
          </a:bodyPr>
          <a:lstStyle>
            <a:lvl1pPr lvl="0" rtl="0">
              <a:spcBef>
                <a:spcPts val="0"/>
              </a:spcBef>
              <a:spcAft>
                <a:spcPts val="0"/>
              </a:spcAft>
              <a:buSzPts val="6000"/>
              <a:buNone/>
              <a:defRPr sz="6000"/>
            </a:lvl1pPr>
            <a:lvl2pPr lvl="1" rtl="0">
              <a:spcBef>
                <a:spcPts val="0"/>
              </a:spcBef>
              <a:spcAft>
                <a:spcPts val="0"/>
              </a:spcAft>
              <a:buSzPts val="15000"/>
              <a:buNone/>
              <a:defRPr sz="15000"/>
            </a:lvl2pPr>
            <a:lvl3pPr lvl="2" rtl="0">
              <a:spcBef>
                <a:spcPts val="0"/>
              </a:spcBef>
              <a:spcAft>
                <a:spcPts val="0"/>
              </a:spcAft>
              <a:buSzPts val="15000"/>
              <a:buNone/>
              <a:defRPr sz="15000"/>
            </a:lvl3pPr>
            <a:lvl4pPr lvl="3" rtl="0">
              <a:spcBef>
                <a:spcPts val="0"/>
              </a:spcBef>
              <a:spcAft>
                <a:spcPts val="0"/>
              </a:spcAft>
              <a:buSzPts val="15000"/>
              <a:buNone/>
              <a:defRPr sz="15000"/>
            </a:lvl4pPr>
            <a:lvl5pPr lvl="4" rtl="0">
              <a:spcBef>
                <a:spcPts val="0"/>
              </a:spcBef>
              <a:spcAft>
                <a:spcPts val="0"/>
              </a:spcAft>
              <a:buSzPts val="15000"/>
              <a:buNone/>
              <a:defRPr sz="15000"/>
            </a:lvl5pPr>
            <a:lvl6pPr lvl="5" rtl="0">
              <a:spcBef>
                <a:spcPts val="0"/>
              </a:spcBef>
              <a:spcAft>
                <a:spcPts val="0"/>
              </a:spcAft>
              <a:buSzPts val="15000"/>
              <a:buNone/>
              <a:defRPr sz="15000"/>
            </a:lvl6pPr>
            <a:lvl7pPr lvl="6" rtl="0">
              <a:spcBef>
                <a:spcPts val="0"/>
              </a:spcBef>
              <a:spcAft>
                <a:spcPts val="0"/>
              </a:spcAft>
              <a:buSzPts val="15000"/>
              <a:buNone/>
              <a:defRPr sz="15000"/>
            </a:lvl7pPr>
            <a:lvl8pPr lvl="7" rtl="0">
              <a:spcBef>
                <a:spcPts val="0"/>
              </a:spcBef>
              <a:spcAft>
                <a:spcPts val="0"/>
              </a:spcAft>
              <a:buSzPts val="15000"/>
              <a:buNone/>
              <a:defRPr sz="15000"/>
            </a:lvl8pPr>
            <a:lvl9pPr lvl="8" rtl="0">
              <a:spcBef>
                <a:spcPts val="0"/>
              </a:spcBef>
              <a:spcAft>
                <a:spcPts val="0"/>
              </a:spcAft>
              <a:buSzPts val="15000"/>
              <a:buNone/>
              <a:defRPr sz="15000"/>
            </a:lvl9pPr>
          </a:lstStyle>
          <a:p>
            <a:endParaRPr/>
          </a:p>
        </p:txBody>
      </p:sp>
      <p:sp>
        <p:nvSpPr>
          <p:cNvPr id="244" name="Google Shape;244;p14"/>
          <p:cNvSpPr txBox="1">
            <a:spLocks noGrp="1"/>
          </p:cNvSpPr>
          <p:nvPr>
            <p:ph type="subTitle" idx="1"/>
          </p:nvPr>
        </p:nvSpPr>
        <p:spPr>
          <a:xfrm>
            <a:off x="411275" y="5029775"/>
            <a:ext cx="44583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a:lvl1pPr>
            <a:lvl2pPr lvl="1" rtl="0">
              <a:spcBef>
                <a:spcPts val="2100"/>
              </a:spcBef>
              <a:spcAft>
                <a:spcPts val="0"/>
              </a:spcAft>
              <a:buSzPts val="1800"/>
              <a:buNone/>
              <a:defRPr sz="1800"/>
            </a:lvl2pPr>
            <a:lvl3pPr lvl="2" rtl="0">
              <a:spcBef>
                <a:spcPts val="2100"/>
              </a:spcBef>
              <a:spcAft>
                <a:spcPts val="0"/>
              </a:spcAft>
              <a:buSzPts val="1800"/>
              <a:buNone/>
              <a:defRPr sz="1800"/>
            </a:lvl3pPr>
            <a:lvl4pPr lvl="3" rtl="0">
              <a:spcBef>
                <a:spcPts val="2100"/>
              </a:spcBef>
              <a:spcAft>
                <a:spcPts val="0"/>
              </a:spcAft>
              <a:buSzPts val="1800"/>
              <a:buNone/>
              <a:defRPr sz="1800"/>
            </a:lvl4pPr>
            <a:lvl5pPr lvl="4" rtl="0">
              <a:spcBef>
                <a:spcPts val="2100"/>
              </a:spcBef>
              <a:spcAft>
                <a:spcPts val="0"/>
              </a:spcAft>
              <a:buSzPts val="1800"/>
              <a:buNone/>
              <a:defRPr sz="1800"/>
            </a:lvl5pPr>
            <a:lvl6pPr lvl="5" rtl="0">
              <a:spcBef>
                <a:spcPts val="2100"/>
              </a:spcBef>
              <a:spcAft>
                <a:spcPts val="0"/>
              </a:spcAft>
              <a:buSzPts val="1800"/>
              <a:buNone/>
              <a:defRPr sz="1800"/>
            </a:lvl6pPr>
            <a:lvl7pPr lvl="6" rtl="0">
              <a:spcBef>
                <a:spcPts val="2100"/>
              </a:spcBef>
              <a:spcAft>
                <a:spcPts val="0"/>
              </a:spcAft>
              <a:buSzPts val="1800"/>
              <a:buNone/>
              <a:defRPr sz="1800"/>
            </a:lvl7pPr>
            <a:lvl8pPr lvl="7" rtl="0">
              <a:spcBef>
                <a:spcPts val="2100"/>
              </a:spcBef>
              <a:spcAft>
                <a:spcPts val="0"/>
              </a:spcAft>
              <a:buSzPts val="1800"/>
              <a:buNone/>
              <a:defRPr sz="1800"/>
            </a:lvl8pPr>
            <a:lvl9pPr lvl="8" rtl="0">
              <a:spcBef>
                <a:spcPts val="2100"/>
              </a:spcBef>
              <a:spcAft>
                <a:spcPts val="2100"/>
              </a:spcAft>
              <a:buSzPts val="1800"/>
              <a:buNone/>
              <a:defRPr sz="1800"/>
            </a:lvl9pPr>
          </a:lstStyle>
          <a:p>
            <a:endParaRPr/>
          </a:p>
        </p:txBody>
      </p:sp>
    </p:spTree>
    <p:extLst>
      <p:ext uri="{BB962C8B-B14F-4D97-AF65-F5344CB8AC3E}">
        <p14:creationId xmlns:p14="http://schemas.microsoft.com/office/powerpoint/2010/main" val="131662384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010 Text and Image 1">
  <p:cSld name="010 Text and Image 1">
    <p:spTree>
      <p:nvGrpSpPr>
        <p:cNvPr id="1" name="Shape 245"/>
        <p:cNvGrpSpPr/>
        <p:nvPr/>
      </p:nvGrpSpPr>
      <p:grpSpPr>
        <a:xfrm>
          <a:off x="0" y="0"/>
          <a:ext cx="0" cy="0"/>
          <a:chOff x="0" y="0"/>
          <a:chExt cx="0" cy="0"/>
        </a:xfrm>
      </p:grpSpPr>
      <p:grpSp>
        <p:nvGrpSpPr>
          <p:cNvPr id="246" name="Google Shape;246;p15"/>
          <p:cNvGrpSpPr/>
          <p:nvPr/>
        </p:nvGrpSpPr>
        <p:grpSpPr>
          <a:xfrm>
            <a:off x="1884537" y="2597102"/>
            <a:ext cx="10185879" cy="4274883"/>
            <a:chOff x="1712140" y="3412070"/>
            <a:chExt cx="8769590" cy="3446096"/>
          </a:xfrm>
        </p:grpSpPr>
        <p:grpSp>
          <p:nvGrpSpPr>
            <p:cNvPr id="247" name="Google Shape;247;p15"/>
            <p:cNvGrpSpPr/>
            <p:nvPr/>
          </p:nvGrpSpPr>
          <p:grpSpPr>
            <a:xfrm>
              <a:off x="1712140" y="4978441"/>
              <a:ext cx="1335858" cy="1879449"/>
              <a:chOff x="7139197" y="345537"/>
              <a:chExt cx="4680652" cy="6585317"/>
            </a:xfrm>
          </p:grpSpPr>
          <p:sp>
            <p:nvSpPr>
              <p:cNvPr id="248" name="Google Shape;248;p15"/>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9" name="Google Shape;249;p15"/>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0" name="Google Shape;250;p15"/>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1" name="Google Shape;251;p15"/>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2" name="Google Shape;252;p15"/>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3" name="Google Shape;253;p15"/>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54" name="Google Shape;254;p15"/>
            <p:cNvGrpSpPr/>
            <p:nvPr/>
          </p:nvGrpSpPr>
          <p:grpSpPr>
            <a:xfrm>
              <a:off x="3126221" y="4224860"/>
              <a:ext cx="1871325" cy="2632810"/>
              <a:chOff x="7139197" y="345537"/>
              <a:chExt cx="4680652" cy="6585317"/>
            </a:xfrm>
          </p:grpSpPr>
          <p:sp>
            <p:nvSpPr>
              <p:cNvPr id="255" name="Google Shape;255;p15"/>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6" name="Google Shape;256;p15"/>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7" name="Google Shape;257;p15"/>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8" name="Google Shape;258;p15"/>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9" name="Google Shape;259;p15"/>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0" name="Google Shape;260;p15"/>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61" name="Google Shape;261;p15"/>
            <p:cNvGrpSpPr/>
            <p:nvPr/>
          </p:nvGrpSpPr>
          <p:grpSpPr>
            <a:xfrm>
              <a:off x="4963149" y="3412070"/>
              <a:ext cx="2449385" cy="3446096"/>
              <a:chOff x="7139197" y="345537"/>
              <a:chExt cx="4680652" cy="6585317"/>
            </a:xfrm>
          </p:grpSpPr>
          <p:sp>
            <p:nvSpPr>
              <p:cNvPr id="262" name="Google Shape;262;p15"/>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3" name="Google Shape;263;p15"/>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4" name="Google Shape;264;p15"/>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5" name="Google Shape;265;p15"/>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6" name="Google Shape;266;p15"/>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67" name="Google Shape;267;p15"/>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68" name="Google Shape;268;p15"/>
            <p:cNvGrpSpPr/>
            <p:nvPr/>
          </p:nvGrpSpPr>
          <p:grpSpPr>
            <a:xfrm>
              <a:off x="7308755" y="4224860"/>
              <a:ext cx="1871325" cy="2632810"/>
              <a:chOff x="7139197" y="345537"/>
              <a:chExt cx="4680652" cy="6585317"/>
            </a:xfrm>
          </p:grpSpPr>
          <p:sp>
            <p:nvSpPr>
              <p:cNvPr id="269" name="Google Shape;269;p15"/>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0" name="Google Shape;270;p15"/>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1" name="Google Shape;271;p15"/>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2" name="Google Shape;272;p15"/>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3" name="Google Shape;273;p15"/>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4" name="Google Shape;274;p15"/>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75" name="Google Shape;275;p15"/>
            <p:cNvGrpSpPr/>
            <p:nvPr/>
          </p:nvGrpSpPr>
          <p:grpSpPr>
            <a:xfrm>
              <a:off x="9145872" y="4978441"/>
              <a:ext cx="1335858" cy="1879449"/>
              <a:chOff x="7139197" y="345537"/>
              <a:chExt cx="4680652" cy="6585317"/>
            </a:xfrm>
          </p:grpSpPr>
          <p:sp>
            <p:nvSpPr>
              <p:cNvPr id="276" name="Google Shape;276;p15"/>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7" name="Google Shape;277;p15"/>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8" name="Google Shape;278;p15"/>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9" name="Google Shape;279;p15"/>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0" name="Google Shape;280;p15"/>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 name="Google Shape;281;p15"/>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201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82" name="Google Shape;282;p15"/>
          <p:cNvSpPr/>
          <p:nvPr/>
        </p:nvSpPr>
        <p:spPr>
          <a:xfrm>
            <a:off x="8775825" y="600298"/>
            <a:ext cx="3136200" cy="5838600"/>
          </a:xfrm>
          <a:prstGeom prst="frame">
            <a:avLst>
              <a:gd name="adj1" fmla="val 7678"/>
            </a:avLst>
          </a:prstGeom>
          <a:solidFill>
            <a:schemeClr val="accent1"/>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15"/>
          <p:cNvSpPr/>
          <p:nvPr/>
        </p:nvSpPr>
        <p:spPr>
          <a:xfrm>
            <a:off x="351025" y="3023250"/>
            <a:ext cx="4416900" cy="3415500"/>
          </a:xfrm>
          <a:prstGeom prst="frame">
            <a:avLst>
              <a:gd name="adj1" fmla="val 6573"/>
            </a:avLst>
          </a:prstGeom>
          <a:solidFill>
            <a:schemeClr val="accent1"/>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5"/>
          <p:cNvSpPr/>
          <p:nvPr/>
        </p:nvSpPr>
        <p:spPr>
          <a:xfrm>
            <a:off x="4983675" y="600299"/>
            <a:ext cx="3576300" cy="2811900"/>
          </a:xfrm>
          <a:prstGeom prst="frame">
            <a:avLst>
              <a:gd name="adj1" fmla="val 8314"/>
            </a:avLst>
          </a:prstGeom>
          <a:solidFill>
            <a:schemeClr val="accent2"/>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5"/>
          <p:cNvSpPr/>
          <p:nvPr/>
        </p:nvSpPr>
        <p:spPr>
          <a:xfrm>
            <a:off x="4983675" y="3626743"/>
            <a:ext cx="3576300" cy="2811900"/>
          </a:xfrm>
          <a:prstGeom prst="frame">
            <a:avLst>
              <a:gd name="adj1" fmla="val 8314"/>
            </a:avLst>
          </a:prstGeom>
          <a:solidFill>
            <a:schemeClr val="accent3"/>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6" name="Google Shape;286;p15"/>
          <p:cNvGrpSpPr/>
          <p:nvPr/>
        </p:nvGrpSpPr>
        <p:grpSpPr>
          <a:xfrm>
            <a:off x="-8" y="-838184"/>
            <a:ext cx="4209122" cy="4724575"/>
            <a:chOff x="6979425" y="523200"/>
            <a:chExt cx="4736268" cy="5316277"/>
          </a:xfrm>
        </p:grpSpPr>
        <p:sp>
          <p:nvSpPr>
            <p:cNvPr id="287" name="Google Shape;287;p15"/>
            <p:cNvSpPr/>
            <p:nvPr/>
          </p:nvSpPr>
          <p:spPr>
            <a:xfrm rot="4582876">
              <a:off x="8399085" y="326414"/>
              <a:ext cx="1866649" cy="407354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 name="Google Shape;288;p15"/>
            <p:cNvSpPr/>
            <p:nvPr/>
          </p:nvSpPr>
          <p:spPr>
            <a:xfrm rot="-578308">
              <a:off x="6999027" y="2708978"/>
              <a:ext cx="4697064" cy="1324437"/>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 name="Google Shape;289;p15"/>
            <p:cNvSpPr/>
            <p:nvPr/>
          </p:nvSpPr>
          <p:spPr>
            <a:xfrm rot="4582793">
              <a:off x="8776016" y="2142954"/>
              <a:ext cx="1495756" cy="407354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90" name="Google Shape;290;p15"/>
          <p:cNvSpPr txBox="1">
            <a:spLocks noGrp="1"/>
          </p:cNvSpPr>
          <p:nvPr>
            <p:ph type="title"/>
          </p:nvPr>
        </p:nvSpPr>
        <p:spPr>
          <a:xfrm>
            <a:off x="411275" y="1727000"/>
            <a:ext cx="4458300" cy="2377200"/>
          </a:xfrm>
          <a:prstGeom prst="rect">
            <a:avLst/>
          </a:prstGeom>
        </p:spPr>
        <p:txBody>
          <a:bodyPr spcFirstLastPara="1" wrap="square" lIns="121900" tIns="121900" rIns="121900" bIns="121900" anchor="ctr" anchorCtr="0">
            <a:noAutofit/>
          </a:bodyPr>
          <a:lstStyle>
            <a:lvl1pPr lvl="0" rtl="0">
              <a:spcBef>
                <a:spcPts val="0"/>
              </a:spcBef>
              <a:spcAft>
                <a:spcPts val="0"/>
              </a:spcAft>
              <a:buSzPts val="6000"/>
              <a:buNone/>
              <a:defRPr sz="6000"/>
            </a:lvl1pPr>
            <a:lvl2pPr lvl="1" rtl="0">
              <a:spcBef>
                <a:spcPts val="0"/>
              </a:spcBef>
              <a:spcAft>
                <a:spcPts val="0"/>
              </a:spcAft>
              <a:buSzPts val="15000"/>
              <a:buNone/>
              <a:defRPr sz="15000"/>
            </a:lvl2pPr>
            <a:lvl3pPr lvl="2" rtl="0">
              <a:spcBef>
                <a:spcPts val="0"/>
              </a:spcBef>
              <a:spcAft>
                <a:spcPts val="0"/>
              </a:spcAft>
              <a:buSzPts val="15000"/>
              <a:buNone/>
              <a:defRPr sz="15000"/>
            </a:lvl3pPr>
            <a:lvl4pPr lvl="3" rtl="0">
              <a:spcBef>
                <a:spcPts val="0"/>
              </a:spcBef>
              <a:spcAft>
                <a:spcPts val="0"/>
              </a:spcAft>
              <a:buSzPts val="15000"/>
              <a:buNone/>
              <a:defRPr sz="15000"/>
            </a:lvl4pPr>
            <a:lvl5pPr lvl="4" rtl="0">
              <a:spcBef>
                <a:spcPts val="0"/>
              </a:spcBef>
              <a:spcAft>
                <a:spcPts val="0"/>
              </a:spcAft>
              <a:buSzPts val="15000"/>
              <a:buNone/>
              <a:defRPr sz="15000"/>
            </a:lvl5pPr>
            <a:lvl6pPr lvl="5" rtl="0">
              <a:spcBef>
                <a:spcPts val="0"/>
              </a:spcBef>
              <a:spcAft>
                <a:spcPts val="0"/>
              </a:spcAft>
              <a:buSzPts val="15000"/>
              <a:buNone/>
              <a:defRPr sz="15000"/>
            </a:lvl6pPr>
            <a:lvl7pPr lvl="6" rtl="0">
              <a:spcBef>
                <a:spcPts val="0"/>
              </a:spcBef>
              <a:spcAft>
                <a:spcPts val="0"/>
              </a:spcAft>
              <a:buSzPts val="15000"/>
              <a:buNone/>
              <a:defRPr sz="15000"/>
            </a:lvl7pPr>
            <a:lvl8pPr lvl="7" rtl="0">
              <a:spcBef>
                <a:spcPts val="0"/>
              </a:spcBef>
              <a:spcAft>
                <a:spcPts val="0"/>
              </a:spcAft>
              <a:buSzPts val="15000"/>
              <a:buNone/>
              <a:defRPr sz="15000"/>
            </a:lvl8pPr>
            <a:lvl9pPr lvl="8" rtl="0">
              <a:spcBef>
                <a:spcPts val="0"/>
              </a:spcBef>
              <a:spcAft>
                <a:spcPts val="0"/>
              </a:spcAft>
              <a:buSzPts val="15000"/>
              <a:buNone/>
              <a:defRPr sz="15000"/>
            </a:lvl9pPr>
          </a:lstStyle>
          <a:p>
            <a:endParaRPr/>
          </a:p>
        </p:txBody>
      </p:sp>
      <p:sp>
        <p:nvSpPr>
          <p:cNvPr id="291" name="Google Shape;291;p15"/>
          <p:cNvSpPr txBox="1">
            <a:spLocks noGrp="1"/>
          </p:cNvSpPr>
          <p:nvPr>
            <p:ph type="subTitle" idx="1"/>
          </p:nvPr>
        </p:nvSpPr>
        <p:spPr>
          <a:xfrm>
            <a:off x="411275" y="5029775"/>
            <a:ext cx="44583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a:lvl1pPr>
            <a:lvl2pPr lvl="1" rtl="0">
              <a:spcBef>
                <a:spcPts val="2100"/>
              </a:spcBef>
              <a:spcAft>
                <a:spcPts val="0"/>
              </a:spcAft>
              <a:buSzPts val="1800"/>
              <a:buNone/>
              <a:defRPr sz="1800"/>
            </a:lvl2pPr>
            <a:lvl3pPr lvl="2" rtl="0">
              <a:spcBef>
                <a:spcPts val="2100"/>
              </a:spcBef>
              <a:spcAft>
                <a:spcPts val="0"/>
              </a:spcAft>
              <a:buSzPts val="1800"/>
              <a:buNone/>
              <a:defRPr sz="1800"/>
            </a:lvl3pPr>
            <a:lvl4pPr lvl="3" rtl="0">
              <a:spcBef>
                <a:spcPts val="2100"/>
              </a:spcBef>
              <a:spcAft>
                <a:spcPts val="0"/>
              </a:spcAft>
              <a:buSzPts val="1800"/>
              <a:buNone/>
              <a:defRPr sz="1800"/>
            </a:lvl4pPr>
            <a:lvl5pPr lvl="4" rtl="0">
              <a:spcBef>
                <a:spcPts val="2100"/>
              </a:spcBef>
              <a:spcAft>
                <a:spcPts val="0"/>
              </a:spcAft>
              <a:buSzPts val="1800"/>
              <a:buNone/>
              <a:defRPr sz="1800"/>
            </a:lvl5pPr>
            <a:lvl6pPr lvl="5" rtl="0">
              <a:spcBef>
                <a:spcPts val="2100"/>
              </a:spcBef>
              <a:spcAft>
                <a:spcPts val="0"/>
              </a:spcAft>
              <a:buSzPts val="1800"/>
              <a:buNone/>
              <a:defRPr sz="1800"/>
            </a:lvl6pPr>
            <a:lvl7pPr lvl="6" rtl="0">
              <a:spcBef>
                <a:spcPts val="2100"/>
              </a:spcBef>
              <a:spcAft>
                <a:spcPts val="0"/>
              </a:spcAft>
              <a:buSzPts val="1800"/>
              <a:buNone/>
              <a:defRPr sz="1800"/>
            </a:lvl7pPr>
            <a:lvl8pPr lvl="7" rtl="0">
              <a:spcBef>
                <a:spcPts val="2100"/>
              </a:spcBef>
              <a:spcAft>
                <a:spcPts val="0"/>
              </a:spcAft>
              <a:buSzPts val="1800"/>
              <a:buNone/>
              <a:defRPr sz="1800"/>
            </a:lvl8pPr>
            <a:lvl9pPr lvl="8" rtl="0">
              <a:spcBef>
                <a:spcPts val="2100"/>
              </a:spcBef>
              <a:spcAft>
                <a:spcPts val="2100"/>
              </a:spcAft>
              <a:buSzPts val="1800"/>
              <a:buNone/>
              <a:defRPr sz="1800"/>
            </a:lvl9pPr>
          </a:lstStyle>
          <a:p>
            <a:endParaRPr/>
          </a:p>
        </p:txBody>
      </p:sp>
    </p:spTree>
    <p:extLst>
      <p:ext uri="{BB962C8B-B14F-4D97-AF65-F5344CB8AC3E}">
        <p14:creationId xmlns:p14="http://schemas.microsoft.com/office/powerpoint/2010/main" val="25163437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011 Background image">
  <p:cSld name="011 Background image">
    <p:spTree>
      <p:nvGrpSpPr>
        <p:cNvPr id="1" name="Shape 292"/>
        <p:cNvGrpSpPr/>
        <p:nvPr/>
      </p:nvGrpSpPr>
      <p:grpSpPr>
        <a:xfrm>
          <a:off x="0" y="0"/>
          <a:ext cx="0" cy="0"/>
          <a:chOff x="0" y="0"/>
          <a:chExt cx="0" cy="0"/>
        </a:xfrm>
      </p:grpSpPr>
      <p:sp>
        <p:nvSpPr>
          <p:cNvPr id="293" name="Google Shape;293;p16"/>
          <p:cNvSpPr txBox="1">
            <a:spLocks noGrp="1"/>
          </p:cNvSpPr>
          <p:nvPr>
            <p:ph type="title"/>
          </p:nvPr>
        </p:nvSpPr>
        <p:spPr>
          <a:xfrm>
            <a:off x="7223375" y="2088000"/>
            <a:ext cx="4458300" cy="2377200"/>
          </a:xfrm>
          <a:prstGeom prst="rect">
            <a:avLst/>
          </a:prstGeom>
        </p:spPr>
        <p:txBody>
          <a:bodyPr spcFirstLastPara="1" wrap="square" lIns="121900" tIns="121900" rIns="121900" bIns="121900" anchor="ctr" anchorCtr="0">
            <a:noAutofit/>
          </a:bodyPr>
          <a:lstStyle>
            <a:lvl1pPr lvl="0" algn="r" rtl="0">
              <a:spcBef>
                <a:spcPts val="0"/>
              </a:spcBef>
              <a:spcAft>
                <a:spcPts val="0"/>
              </a:spcAft>
              <a:buClr>
                <a:schemeClr val="lt1"/>
              </a:buClr>
              <a:buSzPts val="6000"/>
              <a:buNone/>
              <a:defRPr sz="6000">
                <a:solidFill>
                  <a:schemeClr val="lt1"/>
                </a:solidFill>
              </a:defRPr>
            </a:lvl1pPr>
            <a:lvl2pPr lvl="1" algn="r" rtl="0">
              <a:spcBef>
                <a:spcPts val="0"/>
              </a:spcBef>
              <a:spcAft>
                <a:spcPts val="0"/>
              </a:spcAft>
              <a:buClr>
                <a:schemeClr val="lt1"/>
              </a:buClr>
              <a:buSzPts val="15000"/>
              <a:buNone/>
              <a:defRPr sz="15000">
                <a:solidFill>
                  <a:schemeClr val="lt1"/>
                </a:solidFill>
              </a:defRPr>
            </a:lvl2pPr>
            <a:lvl3pPr lvl="2" algn="r" rtl="0">
              <a:spcBef>
                <a:spcPts val="0"/>
              </a:spcBef>
              <a:spcAft>
                <a:spcPts val="0"/>
              </a:spcAft>
              <a:buClr>
                <a:schemeClr val="lt1"/>
              </a:buClr>
              <a:buSzPts val="15000"/>
              <a:buNone/>
              <a:defRPr sz="15000">
                <a:solidFill>
                  <a:schemeClr val="lt1"/>
                </a:solidFill>
              </a:defRPr>
            </a:lvl3pPr>
            <a:lvl4pPr lvl="3" algn="r" rtl="0">
              <a:spcBef>
                <a:spcPts val="0"/>
              </a:spcBef>
              <a:spcAft>
                <a:spcPts val="0"/>
              </a:spcAft>
              <a:buClr>
                <a:schemeClr val="lt1"/>
              </a:buClr>
              <a:buSzPts val="15000"/>
              <a:buNone/>
              <a:defRPr sz="15000">
                <a:solidFill>
                  <a:schemeClr val="lt1"/>
                </a:solidFill>
              </a:defRPr>
            </a:lvl4pPr>
            <a:lvl5pPr lvl="4" algn="r" rtl="0">
              <a:spcBef>
                <a:spcPts val="0"/>
              </a:spcBef>
              <a:spcAft>
                <a:spcPts val="0"/>
              </a:spcAft>
              <a:buClr>
                <a:schemeClr val="lt1"/>
              </a:buClr>
              <a:buSzPts val="15000"/>
              <a:buNone/>
              <a:defRPr sz="15000">
                <a:solidFill>
                  <a:schemeClr val="lt1"/>
                </a:solidFill>
              </a:defRPr>
            </a:lvl5pPr>
            <a:lvl6pPr lvl="5" algn="r" rtl="0">
              <a:spcBef>
                <a:spcPts val="0"/>
              </a:spcBef>
              <a:spcAft>
                <a:spcPts val="0"/>
              </a:spcAft>
              <a:buClr>
                <a:schemeClr val="lt1"/>
              </a:buClr>
              <a:buSzPts val="15000"/>
              <a:buNone/>
              <a:defRPr sz="15000">
                <a:solidFill>
                  <a:schemeClr val="lt1"/>
                </a:solidFill>
              </a:defRPr>
            </a:lvl6pPr>
            <a:lvl7pPr lvl="6" algn="r" rtl="0">
              <a:spcBef>
                <a:spcPts val="0"/>
              </a:spcBef>
              <a:spcAft>
                <a:spcPts val="0"/>
              </a:spcAft>
              <a:buClr>
                <a:schemeClr val="lt1"/>
              </a:buClr>
              <a:buSzPts val="15000"/>
              <a:buNone/>
              <a:defRPr sz="15000">
                <a:solidFill>
                  <a:schemeClr val="lt1"/>
                </a:solidFill>
              </a:defRPr>
            </a:lvl7pPr>
            <a:lvl8pPr lvl="7" algn="r" rtl="0">
              <a:spcBef>
                <a:spcPts val="0"/>
              </a:spcBef>
              <a:spcAft>
                <a:spcPts val="0"/>
              </a:spcAft>
              <a:buClr>
                <a:schemeClr val="lt1"/>
              </a:buClr>
              <a:buSzPts val="15000"/>
              <a:buNone/>
              <a:defRPr sz="15000">
                <a:solidFill>
                  <a:schemeClr val="lt1"/>
                </a:solidFill>
              </a:defRPr>
            </a:lvl8pPr>
            <a:lvl9pPr lvl="8" algn="r" rtl="0">
              <a:spcBef>
                <a:spcPts val="0"/>
              </a:spcBef>
              <a:spcAft>
                <a:spcPts val="0"/>
              </a:spcAft>
              <a:buClr>
                <a:schemeClr val="lt1"/>
              </a:buClr>
              <a:buSzPts val="15000"/>
              <a:buNone/>
              <a:defRPr sz="15000">
                <a:solidFill>
                  <a:schemeClr val="lt1"/>
                </a:solidFill>
              </a:defRPr>
            </a:lvl9pPr>
          </a:lstStyle>
          <a:p>
            <a:endParaRPr/>
          </a:p>
        </p:txBody>
      </p:sp>
    </p:spTree>
    <p:extLst>
      <p:ext uri="{BB962C8B-B14F-4D97-AF65-F5344CB8AC3E}">
        <p14:creationId xmlns:p14="http://schemas.microsoft.com/office/powerpoint/2010/main" val="32469819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012 Percentages">
  <p:cSld name="012 Percentages">
    <p:spTree>
      <p:nvGrpSpPr>
        <p:cNvPr id="1" name="Shape 294"/>
        <p:cNvGrpSpPr/>
        <p:nvPr/>
      </p:nvGrpSpPr>
      <p:grpSpPr>
        <a:xfrm>
          <a:off x="0" y="0"/>
          <a:ext cx="0" cy="0"/>
          <a:chOff x="0" y="0"/>
          <a:chExt cx="0" cy="0"/>
        </a:xfrm>
      </p:grpSpPr>
      <p:grpSp>
        <p:nvGrpSpPr>
          <p:cNvPr id="295" name="Google Shape;295;p17"/>
          <p:cNvGrpSpPr/>
          <p:nvPr/>
        </p:nvGrpSpPr>
        <p:grpSpPr>
          <a:xfrm>
            <a:off x="415670" y="3067216"/>
            <a:ext cx="9596562" cy="3771063"/>
            <a:chOff x="1712140" y="3412070"/>
            <a:chExt cx="8769590" cy="3446096"/>
          </a:xfrm>
        </p:grpSpPr>
        <p:grpSp>
          <p:nvGrpSpPr>
            <p:cNvPr id="296" name="Google Shape;296;p17"/>
            <p:cNvGrpSpPr/>
            <p:nvPr/>
          </p:nvGrpSpPr>
          <p:grpSpPr>
            <a:xfrm>
              <a:off x="1712140" y="4978441"/>
              <a:ext cx="1335858" cy="1879449"/>
              <a:chOff x="7139197" y="345537"/>
              <a:chExt cx="4680652" cy="6585317"/>
            </a:xfrm>
          </p:grpSpPr>
          <p:sp>
            <p:nvSpPr>
              <p:cNvPr id="297" name="Google Shape;297;p17"/>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 name="Google Shape;298;p17"/>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 name="Google Shape;299;p17"/>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 name="Google Shape;300;p17"/>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 name="Google Shape;301;p17"/>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 name="Google Shape;302;p17"/>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03" name="Google Shape;303;p17"/>
            <p:cNvGrpSpPr/>
            <p:nvPr/>
          </p:nvGrpSpPr>
          <p:grpSpPr>
            <a:xfrm>
              <a:off x="3126221" y="4224860"/>
              <a:ext cx="1871325" cy="2632810"/>
              <a:chOff x="7139197" y="345537"/>
              <a:chExt cx="4680652" cy="6585317"/>
            </a:xfrm>
          </p:grpSpPr>
          <p:sp>
            <p:nvSpPr>
              <p:cNvPr id="304" name="Google Shape;304;p17"/>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5" name="Google Shape;305;p17"/>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6" name="Google Shape;306;p17"/>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7" name="Google Shape;307;p17"/>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8" name="Google Shape;308;p17"/>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9" name="Google Shape;309;p17"/>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10" name="Google Shape;310;p17"/>
            <p:cNvGrpSpPr/>
            <p:nvPr/>
          </p:nvGrpSpPr>
          <p:grpSpPr>
            <a:xfrm>
              <a:off x="4963149" y="3412070"/>
              <a:ext cx="2449385" cy="3446096"/>
              <a:chOff x="7139197" y="345537"/>
              <a:chExt cx="4680652" cy="6585317"/>
            </a:xfrm>
          </p:grpSpPr>
          <p:sp>
            <p:nvSpPr>
              <p:cNvPr id="311" name="Google Shape;311;p17"/>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2" name="Google Shape;312;p17"/>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3" name="Google Shape;313;p17"/>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4" name="Google Shape;314;p17"/>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5" name="Google Shape;315;p17"/>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6" name="Google Shape;316;p17"/>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17" name="Google Shape;317;p17"/>
            <p:cNvGrpSpPr/>
            <p:nvPr/>
          </p:nvGrpSpPr>
          <p:grpSpPr>
            <a:xfrm>
              <a:off x="7308755" y="4224860"/>
              <a:ext cx="1871325" cy="2632810"/>
              <a:chOff x="7139197" y="345537"/>
              <a:chExt cx="4680652" cy="6585317"/>
            </a:xfrm>
          </p:grpSpPr>
          <p:sp>
            <p:nvSpPr>
              <p:cNvPr id="318" name="Google Shape;318;p17"/>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9" name="Google Shape;319;p17"/>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0" name="Google Shape;320;p17"/>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1" name="Google Shape;321;p17"/>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2" name="Google Shape;322;p17"/>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3" name="Google Shape;323;p17"/>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24" name="Google Shape;324;p17"/>
            <p:cNvGrpSpPr/>
            <p:nvPr/>
          </p:nvGrpSpPr>
          <p:grpSpPr>
            <a:xfrm>
              <a:off x="9145872" y="4978441"/>
              <a:ext cx="1335858" cy="1879449"/>
              <a:chOff x="7139197" y="345537"/>
              <a:chExt cx="4680652" cy="6585317"/>
            </a:xfrm>
          </p:grpSpPr>
          <p:sp>
            <p:nvSpPr>
              <p:cNvPr id="325" name="Google Shape;325;p17"/>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6" name="Google Shape;326;p17"/>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7" name="Google Shape;327;p17"/>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8" name="Google Shape;328;p17"/>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29" name="Google Shape;329;p17"/>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30" name="Google Shape;330;p17"/>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331" name="Google Shape;331;p17"/>
          <p:cNvSpPr txBox="1">
            <a:spLocks noGrp="1"/>
          </p:cNvSpPr>
          <p:nvPr>
            <p:ph type="title" hasCustomPrompt="1"/>
          </p:nvPr>
        </p:nvSpPr>
        <p:spPr>
          <a:xfrm>
            <a:off x="2703038" y="1918250"/>
            <a:ext cx="3510300" cy="1257300"/>
          </a:xfrm>
          <a:prstGeom prst="rect">
            <a:avLst/>
          </a:prstGeom>
        </p:spPr>
        <p:txBody>
          <a:bodyPr spcFirstLastPara="1" wrap="square" lIns="121900" tIns="121900" rIns="121900" bIns="121900" anchor="b" anchorCtr="0">
            <a:noAutofit/>
          </a:bodyPr>
          <a:lstStyle>
            <a:lvl1pPr lvl="0" algn="r" rtl="0">
              <a:spcBef>
                <a:spcPts val="0"/>
              </a:spcBef>
              <a:spcAft>
                <a:spcPts val="0"/>
              </a:spcAft>
              <a:buSzPts val="7000"/>
              <a:buNone/>
              <a:defRPr sz="7000"/>
            </a:lvl1pPr>
            <a:lvl2pPr lvl="1" algn="r" rtl="0">
              <a:spcBef>
                <a:spcPts val="0"/>
              </a:spcBef>
              <a:spcAft>
                <a:spcPts val="0"/>
              </a:spcAft>
              <a:buSzPts val="7000"/>
              <a:buNone/>
              <a:defRPr sz="7000"/>
            </a:lvl2pPr>
            <a:lvl3pPr lvl="2" algn="r" rtl="0">
              <a:spcBef>
                <a:spcPts val="0"/>
              </a:spcBef>
              <a:spcAft>
                <a:spcPts val="0"/>
              </a:spcAft>
              <a:buSzPts val="7000"/>
              <a:buNone/>
              <a:defRPr sz="7000"/>
            </a:lvl3pPr>
            <a:lvl4pPr lvl="3" algn="r" rtl="0">
              <a:spcBef>
                <a:spcPts val="0"/>
              </a:spcBef>
              <a:spcAft>
                <a:spcPts val="0"/>
              </a:spcAft>
              <a:buSzPts val="7000"/>
              <a:buNone/>
              <a:defRPr sz="7000"/>
            </a:lvl4pPr>
            <a:lvl5pPr lvl="4" algn="r" rtl="0">
              <a:spcBef>
                <a:spcPts val="0"/>
              </a:spcBef>
              <a:spcAft>
                <a:spcPts val="0"/>
              </a:spcAft>
              <a:buSzPts val="7000"/>
              <a:buNone/>
              <a:defRPr sz="7000"/>
            </a:lvl5pPr>
            <a:lvl6pPr lvl="5" algn="r" rtl="0">
              <a:spcBef>
                <a:spcPts val="0"/>
              </a:spcBef>
              <a:spcAft>
                <a:spcPts val="0"/>
              </a:spcAft>
              <a:buSzPts val="7000"/>
              <a:buNone/>
              <a:defRPr sz="7000"/>
            </a:lvl6pPr>
            <a:lvl7pPr lvl="6" algn="r" rtl="0">
              <a:spcBef>
                <a:spcPts val="0"/>
              </a:spcBef>
              <a:spcAft>
                <a:spcPts val="0"/>
              </a:spcAft>
              <a:buSzPts val="7000"/>
              <a:buNone/>
              <a:defRPr sz="7000"/>
            </a:lvl7pPr>
            <a:lvl8pPr lvl="7" algn="r" rtl="0">
              <a:spcBef>
                <a:spcPts val="0"/>
              </a:spcBef>
              <a:spcAft>
                <a:spcPts val="0"/>
              </a:spcAft>
              <a:buSzPts val="7000"/>
              <a:buNone/>
              <a:defRPr sz="7000"/>
            </a:lvl8pPr>
            <a:lvl9pPr lvl="8" algn="r" rtl="0">
              <a:spcBef>
                <a:spcPts val="0"/>
              </a:spcBef>
              <a:spcAft>
                <a:spcPts val="0"/>
              </a:spcAft>
              <a:buSzPts val="7000"/>
              <a:buNone/>
              <a:defRPr sz="7000"/>
            </a:lvl9pPr>
          </a:lstStyle>
          <a:p>
            <a:r>
              <a:t>xx%</a:t>
            </a:r>
          </a:p>
        </p:txBody>
      </p:sp>
      <p:sp>
        <p:nvSpPr>
          <p:cNvPr id="332" name="Google Shape;332;p17"/>
          <p:cNvSpPr txBox="1">
            <a:spLocks noGrp="1"/>
          </p:cNvSpPr>
          <p:nvPr>
            <p:ph type="title" idx="2"/>
          </p:nvPr>
        </p:nvSpPr>
        <p:spPr>
          <a:xfrm>
            <a:off x="415600" y="4409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2pPr>
            <a:lvl3pPr lvl="2"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3pPr>
            <a:lvl4pPr lvl="3"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4pPr>
            <a:lvl5pPr lvl="4"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5pPr>
            <a:lvl6pPr lvl="5"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6pPr>
            <a:lvl7pPr lvl="6"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7pPr>
            <a:lvl8pPr lvl="7"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8pPr>
            <a:lvl9pPr lvl="8" algn="ctr" rtl="0">
              <a:spcBef>
                <a:spcPts val="0"/>
              </a:spcBef>
              <a:spcAft>
                <a:spcPts val="0"/>
              </a:spcAft>
              <a:buClr>
                <a:schemeClr val="dk1"/>
              </a:buClr>
              <a:buSzPts val="4000"/>
              <a:buFont typeface="Griffy"/>
              <a:buNone/>
              <a:defRPr sz="4000">
                <a:solidFill>
                  <a:schemeClr val="dk1"/>
                </a:solidFill>
                <a:latin typeface="Griffy"/>
                <a:ea typeface="Griffy"/>
                <a:cs typeface="Griffy"/>
                <a:sym typeface="Griffy"/>
              </a:defRPr>
            </a:lvl9pPr>
          </a:lstStyle>
          <a:p>
            <a:endParaRPr/>
          </a:p>
        </p:txBody>
      </p:sp>
      <p:sp>
        <p:nvSpPr>
          <p:cNvPr id="333" name="Google Shape;333;p17"/>
          <p:cNvSpPr txBox="1">
            <a:spLocks noGrp="1"/>
          </p:cNvSpPr>
          <p:nvPr>
            <p:ph type="title" idx="3" hasCustomPrompt="1"/>
          </p:nvPr>
        </p:nvSpPr>
        <p:spPr>
          <a:xfrm>
            <a:off x="2703038" y="3582888"/>
            <a:ext cx="3510300" cy="1257300"/>
          </a:xfrm>
          <a:prstGeom prst="rect">
            <a:avLst/>
          </a:prstGeom>
        </p:spPr>
        <p:txBody>
          <a:bodyPr spcFirstLastPara="1" wrap="square" lIns="121900" tIns="121900" rIns="121900" bIns="121900" anchor="b" anchorCtr="0">
            <a:noAutofit/>
          </a:bodyPr>
          <a:lstStyle>
            <a:lvl1pPr lvl="0" algn="r" rtl="0">
              <a:spcBef>
                <a:spcPts val="0"/>
              </a:spcBef>
              <a:spcAft>
                <a:spcPts val="0"/>
              </a:spcAft>
              <a:buSzPts val="7000"/>
              <a:buNone/>
              <a:defRPr sz="7000"/>
            </a:lvl1pPr>
            <a:lvl2pPr lvl="1" algn="r" rtl="0">
              <a:spcBef>
                <a:spcPts val="0"/>
              </a:spcBef>
              <a:spcAft>
                <a:spcPts val="0"/>
              </a:spcAft>
              <a:buSzPts val="7000"/>
              <a:buNone/>
              <a:defRPr sz="7000"/>
            </a:lvl2pPr>
            <a:lvl3pPr lvl="2" algn="r" rtl="0">
              <a:spcBef>
                <a:spcPts val="0"/>
              </a:spcBef>
              <a:spcAft>
                <a:spcPts val="0"/>
              </a:spcAft>
              <a:buSzPts val="7000"/>
              <a:buNone/>
              <a:defRPr sz="7000"/>
            </a:lvl3pPr>
            <a:lvl4pPr lvl="3" algn="r" rtl="0">
              <a:spcBef>
                <a:spcPts val="0"/>
              </a:spcBef>
              <a:spcAft>
                <a:spcPts val="0"/>
              </a:spcAft>
              <a:buSzPts val="7000"/>
              <a:buNone/>
              <a:defRPr sz="7000"/>
            </a:lvl4pPr>
            <a:lvl5pPr lvl="4" algn="r" rtl="0">
              <a:spcBef>
                <a:spcPts val="0"/>
              </a:spcBef>
              <a:spcAft>
                <a:spcPts val="0"/>
              </a:spcAft>
              <a:buSzPts val="7000"/>
              <a:buNone/>
              <a:defRPr sz="7000"/>
            </a:lvl5pPr>
            <a:lvl6pPr lvl="5" algn="r" rtl="0">
              <a:spcBef>
                <a:spcPts val="0"/>
              </a:spcBef>
              <a:spcAft>
                <a:spcPts val="0"/>
              </a:spcAft>
              <a:buSzPts val="7000"/>
              <a:buNone/>
              <a:defRPr sz="7000"/>
            </a:lvl6pPr>
            <a:lvl7pPr lvl="6" algn="r" rtl="0">
              <a:spcBef>
                <a:spcPts val="0"/>
              </a:spcBef>
              <a:spcAft>
                <a:spcPts val="0"/>
              </a:spcAft>
              <a:buSzPts val="7000"/>
              <a:buNone/>
              <a:defRPr sz="7000"/>
            </a:lvl7pPr>
            <a:lvl8pPr lvl="7" algn="r" rtl="0">
              <a:spcBef>
                <a:spcPts val="0"/>
              </a:spcBef>
              <a:spcAft>
                <a:spcPts val="0"/>
              </a:spcAft>
              <a:buSzPts val="7000"/>
              <a:buNone/>
              <a:defRPr sz="7000"/>
            </a:lvl8pPr>
            <a:lvl9pPr lvl="8" algn="r" rtl="0">
              <a:spcBef>
                <a:spcPts val="0"/>
              </a:spcBef>
              <a:spcAft>
                <a:spcPts val="0"/>
              </a:spcAft>
              <a:buSzPts val="7000"/>
              <a:buNone/>
              <a:defRPr sz="7000"/>
            </a:lvl9pPr>
          </a:lstStyle>
          <a:p>
            <a:r>
              <a:t>xx%</a:t>
            </a:r>
          </a:p>
        </p:txBody>
      </p:sp>
      <p:sp>
        <p:nvSpPr>
          <p:cNvPr id="334" name="Google Shape;334;p17"/>
          <p:cNvSpPr txBox="1">
            <a:spLocks noGrp="1"/>
          </p:cNvSpPr>
          <p:nvPr>
            <p:ph type="title" idx="4" hasCustomPrompt="1"/>
          </p:nvPr>
        </p:nvSpPr>
        <p:spPr>
          <a:xfrm>
            <a:off x="2703038" y="5247525"/>
            <a:ext cx="3510300" cy="1257300"/>
          </a:xfrm>
          <a:prstGeom prst="rect">
            <a:avLst/>
          </a:prstGeom>
        </p:spPr>
        <p:txBody>
          <a:bodyPr spcFirstLastPara="1" wrap="square" lIns="121900" tIns="121900" rIns="121900" bIns="121900" anchor="b" anchorCtr="0">
            <a:noAutofit/>
          </a:bodyPr>
          <a:lstStyle>
            <a:lvl1pPr lvl="0" algn="r" rtl="0">
              <a:spcBef>
                <a:spcPts val="0"/>
              </a:spcBef>
              <a:spcAft>
                <a:spcPts val="0"/>
              </a:spcAft>
              <a:buSzPts val="7000"/>
              <a:buNone/>
              <a:defRPr sz="7000"/>
            </a:lvl1pPr>
            <a:lvl2pPr lvl="1" algn="r" rtl="0">
              <a:spcBef>
                <a:spcPts val="0"/>
              </a:spcBef>
              <a:spcAft>
                <a:spcPts val="0"/>
              </a:spcAft>
              <a:buSzPts val="7000"/>
              <a:buNone/>
              <a:defRPr sz="7000"/>
            </a:lvl2pPr>
            <a:lvl3pPr lvl="2" algn="r" rtl="0">
              <a:spcBef>
                <a:spcPts val="0"/>
              </a:spcBef>
              <a:spcAft>
                <a:spcPts val="0"/>
              </a:spcAft>
              <a:buSzPts val="7000"/>
              <a:buNone/>
              <a:defRPr sz="7000"/>
            </a:lvl3pPr>
            <a:lvl4pPr lvl="3" algn="r" rtl="0">
              <a:spcBef>
                <a:spcPts val="0"/>
              </a:spcBef>
              <a:spcAft>
                <a:spcPts val="0"/>
              </a:spcAft>
              <a:buSzPts val="7000"/>
              <a:buNone/>
              <a:defRPr sz="7000"/>
            </a:lvl4pPr>
            <a:lvl5pPr lvl="4" algn="r" rtl="0">
              <a:spcBef>
                <a:spcPts val="0"/>
              </a:spcBef>
              <a:spcAft>
                <a:spcPts val="0"/>
              </a:spcAft>
              <a:buSzPts val="7000"/>
              <a:buNone/>
              <a:defRPr sz="7000"/>
            </a:lvl5pPr>
            <a:lvl6pPr lvl="5" algn="r" rtl="0">
              <a:spcBef>
                <a:spcPts val="0"/>
              </a:spcBef>
              <a:spcAft>
                <a:spcPts val="0"/>
              </a:spcAft>
              <a:buSzPts val="7000"/>
              <a:buNone/>
              <a:defRPr sz="7000"/>
            </a:lvl6pPr>
            <a:lvl7pPr lvl="6" algn="r" rtl="0">
              <a:spcBef>
                <a:spcPts val="0"/>
              </a:spcBef>
              <a:spcAft>
                <a:spcPts val="0"/>
              </a:spcAft>
              <a:buSzPts val="7000"/>
              <a:buNone/>
              <a:defRPr sz="7000"/>
            </a:lvl7pPr>
            <a:lvl8pPr lvl="7" algn="r" rtl="0">
              <a:spcBef>
                <a:spcPts val="0"/>
              </a:spcBef>
              <a:spcAft>
                <a:spcPts val="0"/>
              </a:spcAft>
              <a:buSzPts val="7000"/>
              <a:buNone/>
              <a:defRPr sz="7000"/>
            </a:lvl8pPr>
            <a:lvl9pPr lvl="8" algn="r" rtl="0">
              <a:spcBef>
                <a:spcPts val="0"/>
              </a:spcBef>
              <a:spcAft>
                <a:spcPts val="0"/>
              </a:spcAft>
              <a:buSzPts val="7000"/>
              <a:buNone/>
              <a:defRPr sz="7000"/>
            </a:lvl9pPr>
          </a:lstStyle>
          <a:p>
            <a:r>
              <a:t>xx%</a:t>
            </a:r>
          </a:p>
        </p:txBody>
      </p:sp>
      <p:sp>
        <p:nvSpPr>
          <p:cNvPr id="335" name="Google Shape;335;p17"/>
          <p:cNvSpPr txBox="1">
            <a:spLocks noGrp="1"/>
          </p:cNvSpPr>
          <p:nvPr>
            <p:ph type="body" idx="1"/>
          </p:nvPr>
        </p:nvSpPr>
        <p:spPr>
          <a:xfrm>
            <a:off x="6269900" y="5399925"/>
            <a:ext cx="5448600" cy="925200"/>
          </a:xfrm>
          <a:prstGeom prst="rect">
            <a:avLst/>
          </a:prstGeom>
        </p:spPr>
        <p:txBody>
          <a:bodyPr spcFirstLastPara="1" wrap="square" lIns="121900" tIns="121900" rIns="121900" bIns="121900" anchor="b" anchorCtr="0">
            <a:noAutofit/>
          </a:bodyPr>
          <a:lstStyle>
            <a:lvl1pPr marL="457200" lvl="0" indent="-317500">
              <a:lnSpc>
                <a:spcPct val="100000"/>
              </a:lnSpc>
              <a:spcBef>
                <a:spcPts val="0"/>
              </a:spcBef>
              <a:spcAft>
                <a:spcPts val="0"/>
              </a:spcAft>
              <a:buSzPts val="1400"/>
              <a:buChar char="●"/>
              <a:defRPr sz="1400"/>
            </a:lvl1pPr>
            <a:lvl2pPr marL="914400" lvl="1" indent="-317500">
              <a:lnSpc>
                <a:spcPct val="100000"/>
              </a:lnSpc>
              <a:spcBef>
                <a:spcPts val="0"/>
              </a:spcBef>
              <a:spcAft>
                <a:spcPts val="0"/>
              </a:spcAft>
              <a:buSzPts val="1400"/>
              <a:buChar char="○"/>
              <a:defRPr sz="1400"/>
            </a:lvl2pPr>
            <a:lvl3pPr marL="1371600" lvl="2" indent="-317500">
              <a:lnSpc>
                <a:spcPct val="100000"/>
              </a:lnSpc>
              <a:spcBef>
                <a:spcPts val="0"/>
              </a:spcBef>
              <a:spcAft>
                <a:spcPts val="0"/>
              </a:spcAft>
              <a:buSzPts val="1400"/>
              <a:buChar char="■"/>
              <a:defRPr sz="1400"/>
            </a:lvl3pPr>
            <a:lvl4pPr marL="1828800" lvl="3" indent="-317500">
              <a:lnSpc>
                <a:spcPct val="100000"/>
              </a:lnSpc>
              <a:spcBef>
                <a:spcPts val="0"/>
              </a:spcBef>
              <a:spcAft>
                <a:spcPts val="0"/>
              </a:spcAft>
              <a:buSzPts val="1400"/>
              <a:buChar char="●"/>
              <a:defRPr sz="1400"/>
            </a:lvl4pPr>
            <a:lvl5pPr marL="2286000" lvl="4" indent="-317500">
              <a:lnSpc>
                <a:spcPct val="100000"/>
              </a:lnSpc>
              <a:spcBef>
                <a:spcPts val="0"/>
              </a:spcBef>
              <a:spcAft>
                <a:spcPts val="0"/>
              </a:spcAft>
              <a:buSzPts val="1400"/>
              <a:buChar char="○"/>
              <a:defRPr sz="1400"/>
            </a:lvl5pPr>
            <a:lvl6pPr marL="2743200" lvl="5" indent="-317500">
              <a:lnSpc>
                <a:spcPct val="100000"/>
              </a:lnSpc>
              <a:spcBef>
                <a:spcPts val="0"/>
              </a:spcBef>
              <a:spcAft>
                <a:spcPts val="0"/>
              </a:spcAft>
              <a:buSzPts val="1400"/>
              <a:buChar char="■"/>
              <a:defRPr sz="1400"/>
            </a:lvl6pPr>
            <a:lvl7pPr marL="3200400" lvl="6" indent="-317500">
              <a:lnSpc>
                <a:spcPct val="100000"/>
              </a:lnSpc>
              <a:spcBef>
                <a:spcPts val="0"/>
              </a:spcBef>
              <a:spcAft>
                <a:spcPts val="0"/>
              </a:spcAft>
              <a:buSzPts val="1400"/>
              <a:buChar char="●"/>
              <a:defRPr sz="1400"/>
            </a:lvl7pPr>
            <a:lvl8pPr marL="3657600" lvl="7" indent="-317500">
              <a:lnSpc>
                <a:spcPct val="100000"/>
              </a:lnSpc>
              <a:spcBef>
                <a:spcPts val="0"/>
              </a:spcBef>
              <a:spcAft>
                <a:spcPts val="0"/>
              </a:spcAft>
              <a:buSzPts val="1400"/>
              <a:buChar char="○"/>
              <a:defRPr sz="1400"/>
            </a:lvl8pPr>
            <a:lvl9pPr marL="4114800" lvl="8" indent="-317500">
              <a:lnSpc>
                <a:spcPct val="100000"/>
              </a:lnSpc>
              <a:spcBef>
                <a:spcPts val="0"/>
              </a:spcBef>
              <a:spcAft>
                <a:spcPts val="0"/>
              </a:spcAft>
              <a:buSzPts val="1400"/>
              <a:buChar char="■"/>
              <a:defRPr sz="1400"/>
            </a:lvl9pPr>
          </a:lstStyle>
          <a:p>
            <a:endParaRPr/>
          </a:p>
        </p:txBody>
      </p:sp>
      <p:sp>
        <p:nvSpPr>
          <p:cNvPr id="336" name="Google Shape;336;p17"/>
          <p:cNvSpPr txBox="1">
            <a:spLocks noGrp="1"/>
          </p:cNvSpPr>
          <p:nvPr>
            <p:ph type="body" idx="5"/>
          </p:nvPr>
        </p:nvSpPr>
        <p:spPr>
          <a:xfrm>
            <a:off x="6269900" y="3657625"/>
            <a:ext cx="5448600" cy="925200"/>
          </a:xfrm>
          <a:prstGeom prst="rect">
            <a:avLst/>
          </a:prstGeom>
        </p:spPr>
        <p:txBody>
          <a:bodyPr spcFirstLastPara="1" wrap="square" lIns="121900" tIns="121900" rIns="121900" bIns="121900" anchor="b" anchorCtr="0">
            <a:noAutofit/>
          </a:bodyPr>
          <a:lstStyle>
            <a:lvl1pPr marL="457200" lvl="0" indent="-317500" rtl="0">
              <a:lnSpc>
                <a:spcPct val="100000"/>
              </a:lnSpc>
              <a:spcBef>
                <a:spcPts val="0"/>
              </a:spcBef>
              <a:spcAft>
                <a:spcPts val="0"/>
              </a:spcAft>
              <a:buSzPts val="1400"/>
              <a:buChar char="●"/>
              <a:defRPr sz="1400"/>
            </a:lvl1pPr>
            <a:lvl2pPr marL="914400" lvl="1" indent="-317500" rtl="0">
              <a:lnSpc>
                <a:spcPct val="100000"/>
              </a:lnSpc>
              <a:spcBef>
                <a:spcPts val="0"/>
              </a:spcBef>
              <a:spcAft>
                <a:spcPts val="0"/>
              </a:spcAft>
              <a:buSzPts val="1400"/>
              <a:buChar char="○"/>
              <a:defRPr sz="1400"/>
            </a:lvl2pPr>
            <a:lvl3pPr marL="1371600" lvl="2" indent="-317500" rtl="0">
              <a:lnSpc>
                <a:spcPct val="100000"/>
              </a:lnSpc>
              <a:spcBef>
                <a:spcPts val="0"/>
              </a:spcBef>
              <a:spcAft>
                <a:spcPts val="0"/>
              </a:spcAft>
              <a:buSzPts val="1400"/>
              <a:buChar char="■"/>
              <a:defRPr sz="1400"/>
            </a:lvl3pPr>
            <a:lvl4pPr marL="1828800" lvl="3" indent="-317500" rtl="0">
              <a:lnSpc>
                <a:spcPct val="100000"/>
              </a:lnSpc>
              <a:spcBef>
                <a:spcPts val="0"/>
              </a:spcBef>
              <a:spcAft>
                <a:spcPts val="0"/>
              </a:spcAft>
              <a:buSzPts val="1400"/>
              <a:buChar char="●"/>
              <a:defRPr sz="1400"/>
            </a:lvl4pPr>
            <a:lvl5pPr marL="2286000" lvl="4" indent="-317500" rtl="0">
              <a:lnSpc>
                <a:spcPct val="100000"/>
              </a:lnSpc>
              <a:spcBef>
                <a:spcPts val="0"/>
              </a:spcBef>
              <a:spcAft>
                <a:spcPts val="0"/>
              </a:spcAft>
              <a:buSzPts val="1400"/>
              <a:buChar char="○"/>
              <a:defRPr sz="1400"/>
            </a:lvl5pPr>
            <a:lvl6pPr marL="2743200" lvl="5" indent="-317500" rtl="0">
              <a:lnSpc>
                <a:spcPct val="100000"/>
              </a:lnSpc>
              <a:spcBef>
                <a:spcPts val="0"/>
              </a:spcBef>
              <a:spcAft>
                <a:spcPts val="0"/>
              </a:spcAft>
              <a:buSzPts val="1400"/>
              <a:buChar char="■"/>
              <a:defRPr sz="1400"/>
            </a:lvl6pPr>
            <a:lvl7pPr marL="3200400" lvl="6" indent="-317500" rtl="0">
              <a:lnSpc>
                <a:spcPct val="100000"/>
              </a:lnSpc>
              <a:spcBef>
                <a:spcPts val="0"/>
              </a:spcBef>
              <a:spcAft>
                <a:spcPts val="0"/>
              </a:spcAft>
              <a:buSzPts val="1400"/>
              <a:buChar char="●"/>
              <a:defRPr sz="1400"/>
            </a:lvl7pPr>
            <a:lvl8pPr marL="3657600" lvl="7" indent="-317500" rtl="0">
              <a:lnSpc>
                <a:spcPct val="100000"/>
              </a:lnSpc>
              <a:spcBef>
                <a:spcPts val="0"/>
              </a:spcBef>
              <a:spcAft>
                <a:spcPts val="0"/>
              </a:spcAft>
              <a:buSzPts val="1400"/>
              <a:buChar char="○"/>
              <a:defRPr sz="1400"/>
            </a:lvl8pPr>
            <a:lvl9pPr marL="4114800" lvl="8" indent="-317500" rtl="0">
              <a:lnSpc>
                <a:spcPct val="100000"/>
              </a:lnSpc>
              <a:spcBef>
                <a:spcPts val="0"/>
              </a:spcBef>
              <a:spcAft>
                <a:spcPts val="0"/>
              </a:spcAft>
              <a:buSzPts val="1400"/>
              <a:buChar char="■"/>
              <a:defRPr sz="1400"/>
            </a:lvl9pPr>
          </a:lstStyle>
          <a:p>
            <a:endParaRPr/>
          </a:p>
        </p:txBody>
      </p:sp>
      <p:sp>
        <p:nvSpPr>
          <p:cNvPr id="337" name="Google Shape;337;p17"/>
          <p:cNvSpPr txBox="1">
            <a:spLocks noGrp="1"/>
          </p:cNvSpPr>
          <p:nvPr>
            <p:ph type="body" idx="6"/>
          </p:nvPr>
        </p:nvSpPr>
        <p:spPr>
          <a:xfrm>
            <a:off x="6269900" y="1915325"/>
            <a:ext cx="5448600" cy="925200"/>
          </a:xfrm>
          <a:prstGeom prst="rect">
            <a:avLst/>
          </a:prstGeom>
        </p:spPr>
        <p:txBody>
          <a:bodyPr spcFirstLastPara="1" wrap="square" lIns="121900" tIns="121900" rIns="121900" bIns="121900" anchor="b" anchorCtr="0">
            <a:noAutofit/>
          </a:bodyPr>
          <a:lstStyle>
            <a:lvl1pPr marL="457200" lvl="0" indent="-317500" rtl="0">
              <a:lnSpc>
                <a:spcPct val="100000"/>
              </a:lnSpc>
              <a:spcBef>
                <a:spcPts val="0"/>
              </a:spcBef>
              <a:spcAft>
                <a:spcPts val="0"/>
              </a:spcAft>
              <a:buSzPts val="1400"/>
              <a:buChar char="●"/>
              <a:defRPr sz="1400"/>
            </a:lvl1pPr>
            <a:lvl2pPr marL="914400" lvl="1" indent="-317500" rtl="0">
              <a:lnSpc>
                <a:spcPct val="100000"/>
              </a:lnSpc>
              <a:spcBef>
                <a:spcPts val="0"/>
              </a:spcBef>
              <a:spcAft>
                <a:spcPts val="0"/>
              </a:spcAft>
              <a:buSzPts val="1400"/>
              <a:buChar char="○"/>
              <a:defRPr sz="1400"/>
            </a:lvl2pPr>
            <a:lvl3pPr marL="1371600" lvl="2" indent="-317500" rtl="0">
              <a:lnSpc>
                <a:spcPct val="100000"/>
              </a:lnSpc>
              <a:spcBef>
                <a:spcPts val="0"/>
              </a:spcBef>
              <a:spcAft>
                <a:spcPts val="0"/>
              </a:spcAft>
              <a:buSzPts val="1400"/>
              <a:buChar char="■"/>
              <a:defRPr sz="1400"/>
            </a:lvl3pPr>
            <a:lvl4pPr marL="1828800" lvl="3" indent="-317500" rtl="0">
              <a:lnSpc>
                <a:spcPct val="100000"/>
              </a:lnSpc>
              <a:spcBef>
                <a:spcPts val="0"/>
              </a:spcBef>
              <a:spcAft>
                <a:spcPts val="0"/>
              </a:spcAft>
              <a:buSzPts val="1400"/>
              <a:buChar char="●"/>
              <a:defRPr sz="1400"/>
            </a:lvl4pPr>
            <a:lvl5pPr marL="2286000" lvl="4" indent="-317500" rtl="0">
              <a:lnSpc>
                <a:spcPct val="100000"/>
              </a:lnSpc>
              <a:spcBef>
                <a:spcPts val="0"/>
              </a:spcBef>
              <a:spcAft>
                <a:spcPts val="0"/>
              </a:spcAft>
              <a:buSzPts val="1400"/>
              <a:buChar char="○"/>
              <a:defRPr sz="1400"/>
            </a:lvl5pPr>
            <a:lvl6pPr marL="2743200" lvl="5" indent="-317500" rtl="0">
              <a:lnSpc>
                <a:spcPct val="100000"/>
              </a:lnSpc>
              <a:spcBef>
                <a:spcPts val="0"/>
              </a:spcBef>
              <a:spcAft>
                <a:spcPts val="0"/>
              </a:spcAft>
              <a:buSzPts val="1400"/>
              <a:buChar char="■"/>
              <a:defRPr sz="1400"/>
            </a:lvl6pPr>
            <a:lvl7pPr marL="3200400" lvl="6" indent="-317500" rtl="0">
              <a:lnSpc>
                <a:spcPct val="100000"/>
              </a:lnSpc>
              <a:spcBef>
                <a:spcPts val="0"/>
              </a:spcBef>
              <a:spcAft>
                <a:spcPts val="0"/>
              </a:spcAft>
              <a:buSzPts val="1400"/>
              <a:buChar char="●"/>
              <a:defRPr sz="1400"/>
            </a:lvl7pPr>
            <a:lvl8pPr marL="3657600" lvl="7" indent="-317500" rtl="0">
              <a:lnSpc>
                <a:spcPct val="100000"/>
              </a:lnSpc>
              <a:spcBef>
                <a:spcPts val="0"/>
              </a:spcBef>
              <a:spcAft>
                <a:spcPts val="0"/>
              </a:spcAft>
              <a:buSzPts val="1400"/>
              <a:buChar char="○"/>
              <a:defRPr sz="1400"/>
            </a:lvl8pPr>
            <a:lvl9pPr marL="4114800" lvl="8" indent="-317500" rtl="0">
              <a:lnSpc>
                <a:spcPct val="100000"/>
              </a:lnSpc>
              <a:spcBef>
                <a:spcPts val="0"/>
              </a:spcBef>
              <a:spcAft>
                <a:spcPts val="0"/>
              </a:spcAft>
              <a:buSzPts val="1400"/>
              <a:buChar char="■"/>
              <a:defRPr sz="1400"/>
            </a:lvl9pPr>
          </a:lstStyle>
          <a:p>
            <a:endParaRPr/>
          </a:p>
        </p:txBody>
      </p:sp>
    </p:spTree>
    <p:extLst>
      <p:ext uri="{BB962C8B-B14F-4D97-AF65-F5344CB8AC3E}">
        <p14:creationId xmlns:p14="http://schemas.microsoft.com/office/powerpoint/2010/main" val="17108978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013 Six columns">
  <p:cSld name="013 Six columns">
    <p:spTree>
      <p:nvGrpSpPr>
        <p:cNvPr id="1" name="Shape 338"/>
        <p:cNvGrpSpPr/>
        <p:nvPr/>
      </p:nvGrpSpPr>
      <p:grpSpPr>
        <a:xfrm>
          <a:off x="0" y="0"/>
          <a:ext cx="0" cy="0"/>
          <a:chOff x="0" y="0"/>
          <a:chExt cx="0" cy="0"/>
        </a:xfrm>
      </p:grpSpPr>
      <p:pic>
        <p:nvPicPr>
          <p:cNvPr id="339" name="Google Shape;339;p18"/>
          <p:cNvPicPr preferRelativeResize="0"/>
          <p:nvPr/>
        </p:nvPicPr>
        <p:blipFill rotWithShape="1">
          <a:blip r:embed="rId2">
            <a:alphaModFix amt="38000"/>
          </a:blip>
          <a:srcRect l="30691" t="33554" r="20800" b="36717"/>
          <a:stretch/>
        </p:blipFill>
        <p:spPr>
          <a:xfrm flipH="1">
            <a:off x="4616177" y="0"/>
            <a:ext cx="7575822" cy="6857999"/>
          </a:xfrm>
          <a:prstGeom prst="rect">
            <a:avLst/>
          </a:prstGeom>
          <a:noFill/>
          <a:ln>
            <a:noFill/>
          </a:ln>
        </p:spPr>
      </p:pic>
      <p:sp>
        <p:nvSpPr>
          <p:cNvPr id="340" name="Google Shape;340;p18"/>
          <p:cNvSpPr txBox="1">
            <a:spLocks noGrp="1"/>
          </p:cNvSpPr>
          <p:nvPr>
            <p:ph type="subTitle" idx="1"/>
          </p:nvPr>
        </p:nvSpPr>
        <p:spPr>
          <a:xfrm>
            <a:off x="415600" y="1706400"/>
            <a:ext cx="32505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41" name="Google Shape;341;p18"/>
          <p:cNvSpPr txBox="1">
            <a:spLocks noGrp="1"/>
          </p:cNvSpPr>
          <p:nvPr>
            <p:ph type="subTitle" idx="2"/>
          </p:nvPr>
        </p:nvSpPr>
        <p:spPr>
          <a:xfrm>
            <a:off x="415600" y="3182125"/>
            <a:ext cx="32505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42" name="Google Shape;342;p18"/>
          <p:cNvSpPr txBox="1">
            <a:spLocks noGrp="1"/>
          </p:cNvSpPr>
          <p:nvPr>
            <p:ph type="subTitle" idx="3"/>
          </p:nvPr>
        </p:nvSpPr>
        <p:spPr>
          <a:xfrm>
            <a:off x="415600" y="4687580"/>
            <a:ext cx="32505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43" name="Google Shape;343;p18"/>
          <p:cNvSpPr txBox="1">
            <a:spLocks noGrp="1"/>
          </p:cNvSpPr>
          <p:nvPr>
            <p:ph type="subTitle" idx="4"/>
          </p:nvPr>
        </p:nvSpPr>
        <p:spPr>
          <a:xfrm>
            <a:off x="4266987" y="1723750"/>
            <a:ext cx="32505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44" name="Google Shape;344;p18"/>
          <p:cNvSpPr txBox="1">
            <a:spLocks noGrp="1"/>
          </p:cNvSpPr>
          <p:nvPr>
            <p:ph type="subTitle" idx="5"/>
          </p:nvPr>
        </p:nvSpPr>
        <p:spPr>
          <a:xfrm>
            <a:off x="4266987" y="3182125"/>
            <a:ext cx="32505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45" name="Google Shape;345;p18"/>
          <p:cNvSpPr txBox="1">
            <a:spLocks noGrp="1"/>
          </p:cNvSpPr>
          <p:nvPr>
            <p:ph type="subTitle" idx="6"/>
          </p:nvPr>
        </p:nvSpPr>
        <p:spPr>
          <a:xfrm>
            <a:off x="4266987" y="4687580"/>
            <a:ext cx="32505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46" name="Google Shape;346;p18"/>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347" name="Google Shape;347;p18"/>
          <p:cNvSpPr txBox="1">
            <a:spLocks noGrp="1"/>
          </p:cNvSpPr>
          <p:nvPr>
            <p:ph type="body" idx="7"/>
          </p:nvPr>
        </p:nvSpPr>
        <p:spPr>
          <a:xfrm>
            <a:off x="4266987" y="2132600"/>
            <a:ext cx="3250500" cy="834000"/>
          </a:xfrm>
          <a:prstGeom prst="rect">
            <a:avLst/>
          </a:prstGeom>
        </p:spPr>
        <p:txBody>
          <a:bodyPr spcFirstLastPara="1" wrap="square" lIns="121900" tIns="121900" rIns="121900" bIns="121900" anchor="t" anchorCtr="0">
            <a:noAutofit/>
          </a:bodyPr>
          <a:lstStyle>
            <a:lvl1pPr marL="457200" lvl="0" indent="-317500">
              <a:spcBef>
                <a:spcPts val="0"/>
              </a:spcBef>
              <a:spcAft>
                <a:spcPts val="0"/>
              </a:spcAft>
              <a:buSzPts val="1400"/>
              <a:buChar char="●"/>
              <a:defRPr sz="1400"/>
            </a:lvl1pPr>
            <a:lvl2pPr marL="914400" lvl="1" indent="-317500">
              <a:spcBef>
                <a:spcPts val="2100"/>
              </a:spcBef>
              <a:spcAft>
                <a:spcPts val="0"/>
              </a:spcAft>
              <a:buSzPts val="1400"/>
              <a:buChar char="○"/>
              <a:defRPr sz="1400"/>
            </a:lvl2pPr>
            <a:lvl3pPr marL="1371600" lvl="2" indent="-317500">
              <a:spcBef>
                <a:spcPts val="2100"/>
              </a:spcBef>
              <a:spcAft>
                <a:spcPts val="0"/>
              </a:spcAft>
              <a:buSzPts val="1400"/>
              <a:buChar char="■"/>
              <a:defRPr sz="1400"/>
            </a:lvl3pPr>
            <a:lvl4pPr marL="1828800" lvl="3" indent="-317500">
              <a:spcBef>
                <a:spcPts val="2100"/>
              </a:spcBef>
              <a:spcAft>
                <a:spcPts val="0"/>
              </a:spcAft>
              <a:buSzPts val="1400"/>
              <a:buChar char="●"/>
              <a:defRPr sz="1400"/>
            </a:lvl4pPr>
            <a:lvl5pPr marL="2286000" lvl="4" indent="-317500">
              <a:spcBef>
                <a:spcPts val="2100"/>
              </a:spcBef>
              <a:spcAft>
                <a:spcPts val="0"/>
              </a:spcAft>
              <a:buSzPts val="1400"/>
              <a:buChar char="○"/>
              <a:defRPr sz="1400"/>
            </a:lvl5pPr>
            <a:lvl6pPr marL="2743200" lvl="5" indent="-317500">
              <a:spcBef>
                <a:spcPts val="2100"/>
              </a:spcBef>
              <a:spcAft>
                <a:spcPts val="0"/>
              </a:spcAft>
              <a:buSzPts val="1400"/>
              <a:buChar char="■"/>
              <a:defRPr sz="1400"/>
            </a:lvl6pPr>
            <a:lvl7pPr marL="3200400" lvl="6" indent="-317500">
              <a:spcBef>
                <a:spcPts val="2100"/>
              </a:spcBef>
              <a:spcAft>
                <a:spcPts val="0"/>
              </a:spcAft>
              <a:buSzPts val="1400"/>
              <a:buChar char="●"/>
              <a:defRPr sz="1400"/>
            </a:lvl7pPr>
            <a:lvl8pPr marL="3657600" lvl="7" indent="-317500">
              <a:spcBef>
                <a:spcPts val="2100"/>
              </a:spcBef>
              <a:spcAft>
                <a:spcPts val="0"/>
              </a:spcAft>
              <a:buSzPts val="1400"/>
              <a:buChar char="○"/>
              <a:defRPr sz="1400"/>
            </a:lvl8pPr>
            <a:lvl9pPr marL="4114800" lvl="8" indent="-317500">
              <a:spcBef>
                <a:spcPts val="2100"/>
              </a:spcBef>
              <a:spcAft>
                <a:spcPts val="2100"/>
              </a:spcAft>
              <a:buSzPts val="1400"/>
              <a:buChar char="■"/>
              <a:defRPr sz="1400"/>
            </a:lvl9pPr>
          </a:lstStyle>
          <a:p>
            <a:endParaRPr/>
          </a:p>
        </p:txBody>
      </p:sp>
      <p:sp>
        <p:nvSpPr>
          <p:cNvPr id="348" name="Google Shape;348;p18"/>
          <p:cNvSpPr txBox="1">
            <a:spLocks noGrp="1"/>
          </p:cNvSpPr>
          <p:nvPr>
            <p:ph type="body" idx="8"/>
          </p:nvPr>
        </p:nvSpPr>
        <p:spPr>
          <a:xfrm>
            <a:off x="4266987" y="5104400"/>
            <a:ext cx="3250500" cy="8340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
        <p:nvSpPr>
          <p:cNvPr id="349" name="Google Shape;349;p18"/>
          <p:cNvSpPr txBox="1">
            <a:spLocks noGrp="1"/>
          </p:cNvSpPr>
          <p:nvPr>
            <p:ph type="body" idx="9"/>
          </p:nvPr>
        </p:nvSpPr>
        <p:spPr>
          <a:xfrm>
            <a:off x="4266987" y="3580400"/>
            <a:ext cx="3250500" cy="8340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
        <p:nvSpPr>
          <p:cNvPr id="350" name="Google Shape;350;p18"/>
          <p:cNvSpPr txBox="1">
            <a:spLocks noGrp="1"/>
          </p:cNvSpPr>
          <p:nvPr>
            <p:ph type="body" idx="13"/>
          </p:nvPr>
        </p:nvSpPr>
        <p:spPr>
          <a:xfrm>
            <a:off x="415600" y="2132600"/>
            <a:ext cx="3250500" cy="8340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
        <p:nvSpPr>
          <p:cNvPr id="351" name="Google Shape;351;p18"/>
          <p:cNvSpPr txBox="1">
            <a:spLocks noGrp="1"/>
          </p:cNvSpPr>
          <p:nvPr>
            <p:ph type="body" idx="14"/>
          </p:nvPr>
        </p:nvSpPr>
        <p:spPr>
          <a:xfrm>
            <a:off x="415600" y="5104400"/>
            <a:ext cx="3250500" cy="8340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
        <p:nvSpPr>
          <p:cNvPr id="352" name="Google Shape;352;p18"/>
          <p:cNvSpPr txBox="1">
            <a:spLocks noGrp="1"/>
          </p:cNvSpPr>
          <p:nvPr>
            <p:ph type="body" idx="15"/>
          </p:nvPr>
        </p:nvSpPr>
        <p:spPr>
          <a:xfrm>
            <a:off x="415600" y="3580400"/>
            <a:ext cx="3250500" cy="834000"/>
          </a:xfrm>
          <a:prstGeom prst="rect">
            <a:avLst/>
          </a:prstGeom>
        </p:spPr>
        <p:txBody>
          <a:bodyPr spcFirstLastPara="1" wrap="square" lIns="121900" tIns="121900" rIns="121900" bIns="121900" anchor="t" anchorCtr="0">
            <a:noAutofit/>
          </a:bodyPr>
          <a:lstStyle>
            <a:lvl1pPr marL="457200" lvl="0" indent="-317500" rtl="0">
              <a:spcBef>
                <a:spcPts val="0"/>
              </a:spcBef>
              <a:spcAft>
                <a:spcPts val="0"/>
              </a:spcAft>
              <a:buSzPts val="1400"/>
              <a:buChar char="●"/>
              <a:defRPr sz="1400"/>
            </a:lvl1pPr>
            <a:lvl2pPr marL="914400" lvl="1" indent="-317500" rtl="0">
              <a:spcBef>
                <a:spcPts val="2100"/>
              </a:spcBef>
              <a:spcAft>
                <a:spcPts val="0"/>
              </a:spcAft>
              <a:buSzPts val="1400"/>
              <a:buChar char="○"/>
              <a:defRPr sz="1400"/>
            </a:lvl2pPr>
            <a:lvl3pPr marL="1371600" lvl="2" indent="-317500" rtl="0">
              <a:spcBef>
                <a:spcPts val="2100"/>
              </a:spcBef>
              <a:spcAft>
                <a:spcPts val="0"/>
              </a:spcAft>
              <a:buSzPts val="1400"/>
              <a:buChar char="■"/>
              <a:defRPr sz="1400"/>
            </a:lvl3pPr>
            <a:lvl4pPr marL="1828800" lvl="3" indent="-317500" rtl="0">
              <a:spcBef>
                <a:spcPts val="2100"/>
              </a:spcBef>
              <a:spcAft>
                <a:spcPts val="0"/>
              </a:spcAft>
              <a:buSzPts val="1400"/>
              <a:buChar char="●"/>
              <a:defRPr sz="1400"/>
            </a:lvl4pPr>
            <a:lvl5pPr marL="2286000" lvl="4" indent="-317500" rtl="0">
              <a:spcBef>
                <a:spcPts val="2100"/>
              </a:spcBef>
              <a:spcAft>
                <a:spcPts val="0"/>
              </a:spcAft>
              <a:buSzPts val="1400"/>
              <a:buChar char="○"/>
              <a:defRPr sz="1400"/>
            </a:lvl5pPr>
            <a:lvl6pPr marL="2743200" lvl="5" indent="-317500" rtl="0">
              <a:spcBef>
                <a:spcPts val="2100"/>
              </a:spcBef>
              <a:spcAft>
                <a:spcPts val="0"/>
              </a:spcAft>
              <a:buSzPts val="1400"/>
              <a:buChar char="■"/>
              <a:defRPr sz="1400"/>
            </a:lvl6pPr>
            <a:lvl7pPr marL="3200400" lvl="6" indent="-317500" rtl="0">
              <a:spcBef>
                <a:spcPts val="2100"/>
              </a:spcBef>
              <a:spcAft>
                <a:spcPts val="0"/>
              </a:spcAft>
              <a:buSzPts val="1400"/>
              <a:buChar char="●"/>
              <a:defRPr sz="1400"/>
            </a:lvl7pPr>
            <a:lvl8pPr marL="3657600" lvl="7" indent="-317500" rtl="0">
              <a:spcBef>
                <a:spcPts val="2100"/>
              </a:spcBef>
              <a:spcAft>
                <a:spcPts val="0"/>
              </a:spcAft>
              <a:buSzPts val="1400"/>
              <a:buChar char="○"/>
              <a:defRPr sz="1400"/>
            </a:lvl8pPr>
            <a:lvl9pPr marL="4114800" lvl="8" indent="-317500" rtl="0">
              <a:spcBef>
                <a:spcPts val="2100"/>
              </a:spcBef>
              <a:spcAft>
                <a:spcPts val="2100"/>
              </a:spcAft>
              <a:buSzPts val="1400"/>
              <a:buChar char="■"/>
              <a:defRPr sz="1400"/>
            </a:lvl9pPr>
          </a:lstStyle>
          <a:p>
            <a:endParaRPr/>
          </a:p>
        </p:txBody>
      </p:sp>
    </p:spTree>
    <p:extLst>
      <p:ext uri="{BB962C8B-B14F-4D97-AF65-F5344CB8AC3E}">
        <p14:creationId xmlns:p14="http://schemas.microsoft.com/office/powerpoint/2010/main" val="3595213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014 Map">
  <p:cSld name="014 Map">
    <p:spTree>
      <p:nvGrpSpPr>
        <p:cNvPr id="1" name="Shape 353"/>
        <p:cNvGrpSpPr/>
        <p:nvPr/>
      </p:nvGrpSpPr>
      <p:grpSpPr>
        <a:xfrm>
          <a:off x="0" y="0"/>
          <a:ext cx="0" cy="0"/>
          <a:chOff x="0" y="0"/>
          <a:chExt cx="0" cy="0"/>
        </a:xfrm>
      </p:grpSpPr>
      <p:sp>
        <p:nvSpPr>
          <p:cNvPr id="354" name="Google Shape;354;p19"/>
          <p:cNvSpPr txBox="1">
            <a:spLocks noGrp="1"/>
          </p:cNvSpPr>
          <p:nvPr>
            <p:ph type="subTitle" idx="1"/>
          </p:nvPr>
        </p:nvSpPr>
        <p:spPr>
          <a:xfrm>
            <a:off x="8225931" y="1882375"/>
            <a:ext cx="3397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55" name="Google Shape;355;p19"/>
          <p:cNvSpPr txBox="1">
            <a:spLocks noGrp="1"/>
          </p:cNvSpPr>
          <p:nvPr>
            <p:ph type="subTitle" idx="2"/>
          </p:nvPr>
        </p:nvSpPr>
        <p:spPr>
          <a:xfrm>
            <a:off x="8225931" y="4102757"/>
            <a:ext cx="3397800" cy="606900"/>
          </a:xfrm>
          <a:prstGeom prst="rect">
            <a:avLst/>
          </a:prstGeom>
        </p:spPr>
        <p:txBody>
          <a:bodyPr spcFirstLastPara="1" wrap="square" lIns="121900" tIns="121900" rIns="121900" bIns="121900" anchor="t" anchorCtr="0">
            <a:noAutofit/>
          </a:bodyPr>
          <a:lstStyle>
            <a:lvl1pPr lvl="0" rtl="0">
              <a:spcBef>
                <a:spcPts val="0"/>
              </a:spcBef>
              <a:spcAft>
                <a:spcPts val="0"/>
              </a:spcAft>
              <a:buSzPts val="1800"/>
              <a:buNone/>
              <a:defRPr sz="1800" b="1"/>
            </a:lvl1pPr>
            <a:lvl2pPr lvl="1" rtl="0">
              <a:spcBef>
                <a:spcPts val="2100"/>
              </a:spcBef>
              <a:spcAft>
                <a:spcPts val="0"/>
              </a:spcAft>
              <a:buSzPts val="1800"/>
              <a:buNone/>
              <a:defRPr sz="1800" b="1"/>
            </a:lvl2pPr>
            <a:lvl3pPr lvl="2" rtl="0">
              <a:spcBef>
                <a:spcPts val="2100"/>
              </a:spcBef>
              <a:spcAft>
                <a:spcPts val="0"/>
              </a:spcAft>
              <a:buSzPts val="1800"/>
              <a:buNone/>
              <a:defRPr sz="1800" b="1"/>
            </a:lvl3pPr>
            <a:lvl4pPr lvl="3" rtl="0">
              <a:spcBef>
                <a:spcPts val="2100"/>
              </a:spcBef>
              <a:spcAft>
                <a:spcPts val="0"/>
              </a:spcAft>
              <a:buSzPts val="1800"/>
              <a:buNone/>
              <a:defRPr sz="1800" b="1"/>
            </a:lvl4pPr>
            <a:lvl5pPr lvl="4" rtl="0">
              <a:spcBef>
                <a:spcPts val="2100"/>
              </a:spcBef>
              <a:spcAft>
                <a:spcPts val="0"/>
              </a:spcAft>
              <a:buSzPts val="1800"/>
              <a:buNone/>
              <a:defRPr sz="1800" b="1"/>
            </a:lvl5pPr>
            <a:lvl6pPr lvl="5" rtl="0">
              <a:spcBef>
                <a:spcPts val="2100"/>
              </a:spcBef>
              <a:spcAft>
                <a:spcPts val="0"/>
              </a:spcAft>
              <a:buSzPts val="1800"/>
              <a:buNone/>
              <a:defRPr sz="1800" b="1"/>
            </a:lvl6pPr>
            <a:lvl7pPr lvl="6" rtl="0">
              <a:spcBef>
                <a:spcPts val="2100"/>
              </a:spcBef>
              <a:spcAft>
                <a:spcPts val="0"/>
              </a:spcAft>
              <a:buSzPts val="1800"/>
              <a:buNone/>
              <a:defRPr sz="1800" b="1"/>
            </a:lvl7pPr>
            <a:lvl8pPr lvl="7" rtl="0">
              <a:spcBef>
                <a:spcPts val="2100"/>
              </a:spcBef>
              <a:spcAft>
                <a:spcPts val="0"/>
              </a:spcAft>
              <a:buSzPts val="1800"/>
              <a:buNone/>
              <a:defRPr sz="1800" b="1"/>
            </a:lvl8pPr>
            <a:lvl9pPr lvl="8" rtl="0">
              <a:spcBef>
                <a:spcPts val="2100"/>
              </a:spcBef>
              <a:spcAft>
                <a:spcPts val="2100"/>
              </a:spcAft>
              <a:buSzPts val="1800"/>
              <a:buNone/>
              <a:defRPr sz="1800" b="1"/>
            </a:lvl9pPr>
          </a:lstStyle>
          <a:p>
            <a:endParaRPr/>
          </a:p>
        </p:txBody>
      </p:sp>
      <p:sp>
        <p:nvSpPr>
          <p:cNvPr id="356" name="Google Shape;356;p19"/>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357" name="Google Shape;357;p19"/>
          <p:cNvSpPr txBox="1">
            <a:spLocks noGrp="1"/>
          </p:cNvSpPr>
          <p:nvPr>
            <p:ph type="body" idx="3"/>
          </p:nvPr>
        </p:nvSpPr>
        <p:spPr>
          <a:xfrm>
            <a:off x="8225925" y="2318375"/>
            <a:ext cx="3397800" cy="1553400"/>
          </a:xfrm>
          <a:prstGeom prst="rect">
            <a:avLst/>
          </a:prstGeom>
        </p:spPr>
        <p:txBody>
          <a:bodyPr spcFirstLastPara="1" wrap="square" lIns="121900" tIns="121900" rIns="121900" bIns="121900" anchor="t" anchorCtr="0">
            <a:noAutofit/>
          </a:bodyPr>
          <a:lstStyle>
            <a:lvl1pPr marL="457200" lvl="0" indent="-317500">
              <a:lnSpc>
                <a:spcPct val="100000"/>
              </a:lnSpc>
              <a:spcBef>
                <a:spcPts val="0"/>
              </a:spcBef>
              <a:spcAft>
                <a:spcPts val="0"/>
              </a:spcAft>
              <a:buSzPts val="1400"/>
              <a:buChar char="●"/>
              <a:defRPr sz="1400"/>
            </a:lvl1pPr>
            <a:lvl2pPr marL="914400" lvl="1" indent="-317500">
              <a:lnSpc>
                <a:spcPct val="100000"/>
              </a:lnSpc>
              <a:spcBef>
                <a:spcPts val="0"/>
              </a:spcBef>
              <a:spcAft>
                <a:spcPts val="0"/>
              </a:spcAft>
              <a:buSzPts val="1400"/>
              <a:buChar char="○"/>
              <a:defRPr sz="1400"/>
            </a:lvl2pPr>
            <a:lvl3pPr marL="1371600" lvl="2" indent="-317500">
              <a:lnSpc>
                <a:spcPct val="100000"/>
              </a:lnSpc>
              <a:spcBef>
                <a:spcPts val="0"/>
              </a:spcBef>
              <a:spcAft>
                <a:spcPts val="0"/>
              </a:spcAft>
              <a:buSzPts val="1400"/>
              <a:buChar char="■"/>
              <a:defRPr sz="1400"/>
            </a:lvl3pPr>
            <a:lvl4pPr marL="1828800" lvl="3" indent="-317500">
              <a:lnSpc>
                <a:spcPct val="100000"/>
              </a:lnSpc>
              <a:spcBef>
                <a:spcPts val="0"/>
              </a:spcBef>
              <a:spcAft>
                <a:spcPts val="0"/>
              </a:spcAft>
              <a:buSzPts val="1400"/>
              <a:buChar char="●"/>
              <a:defRPr sz="1400"/>
            </a:lvl4pPr>
            <a:lvl5pPr marL="2286000" lvl="4" indent="-317500">
              <a:lnSpc>
                <a:spcPct val="100000"/>
              </a:lnSpc>
              <a:spcBef>
                <a:spcPts val="0"/>
              </a:spcBef>
              <a:spcAft>
                <a:spcPts val="0"/>
              </a:spcAft>
              <a:buSzPts val="1400"/>
              <a:buChar char="○"/>
              <a:defRPr sz="1400"/>
            </a:lvl5pPr>
            <a:lvl6pPr marL="2743200" lvl="5" indent="-317500">
              <a:lnSpc>
                <a:spcPct val="100000"/>
              </a:lnSpc>
              <a:spcBef>
                <a:spcPts val="0"/>
              </a:spcBef>
              <a:spcAft>
                <a:spcPts val="0"/>
              </a:spcAft>
              <a:buSzPts val="1400"/>
              <a:buChar char="■"/>
              <a:defRPr sz="1400"/>
            </a:lvl6pPr>
            <a:lvl7pPr marL="3200400" lvl="6" indent="-317500">
              <a:lnSpc>
                <a:spcPct val="100000"/>
              </a:lnSpc>
              <a:spcBef>
                <a:spcPts val="0"/>
              </a:spcBef>
              <a:spcAft>
                <a:spcPts val="0"/>
              </a:spcAft>
              <a:buSzPts val="1400"/>
              <a:buChar char="●"/>
              <a:defRPr sz="1400"/>
            </a:lvl7pPr>
            <a:lvl8pPr marL="3657600" lvl="7" indent="-317500">
              <a:lnSpc>
                <a:spcPct val="100000"/>
              </a:lnSpc>
              <a:spcBef>
                <a:spcPts val="0"/>
              </a:spcBef>
              <a:spcAft>
                <a:spcPts val="0"/>
              </a:spcAft>
              <a:buSzPts val="1400"/>
              <a:buChar char="○"/>
              <a:defRPr sz="1400"/>
            </a:lvl8pPr>
            <a:lvl9pPr marL="4114800" lvl="8" indent="-317500">
              <a:lnSpc>
                <a:spcPct val="100000"/>
              </a:lnSpc>
              <a:spcBef>
                <a:spcPts val="0"/>
              </a:spcBef>
              <a:spcAft>
                <a:spcPts val="0"/>
              </a:spcAft>
              <a:buSzPts val="1400"/>
              <a:buChar char="■"/>
              <a:defRPr sz="1400"/>
            </a:lvl9pPr>
          </a:lstStyle>
          <a:p>
            <a:endParaRPr/>
          </a:p>
        </p:txBody>
      </p:sp>
      <p:sp>
        <p:nvSpPr>
          <p:cNvPr id="358" name="Google Shape;358;p19"/>
          <p:cNvSpPr txBox="1">
            <a:spLocks noGrp="1"/>
          </p:cNvSpPr>
          <p:nvPr>
            <p:ph type="body" idx="4"/>
          </p:nvPr>
        </p:nvSpPr>
        <p:spPr>
          <a:xfrm>
            <a:off x="8225925" y="4506700"/>
            <a:ext cx="3397800" cy="1553400"/>
          </a:xfrm>
          <a:prstGeom prst="rect">
            <a:avLst/>
          </a:prstGeom>
        </p:spPr>
        <p:txBody>
          <a:bodyPr spcFirstLastPara="1" wrap="square" lIns="121900" tIns="121900" rIns="121900" bIns="121900" anchor="t" anchorCtr="0">
            <a:noAutofit/>
          </a:bodyPr>
          <a:lstStyle>
            <a:lvl1pPr marL="457200" lvl="0" indent="-317500" rtl="0">
              <a:lnSpc>
                <a:spcPct val="100000"/>
              </a:lnSpc>
              <a:spcBef>
                <a:spcPts val="0"/>
              </a:spcBef>
              <a:spcAft>
                <a:spcPts val="0"/>
              </a:spcAft>
              <a:buSzPts val="1400"/>
              <a:buChar char="●"/>
              <a:defRPr sz="1400"/>
            </a:lvl1pPr>
            <a:lvl2pPr marL="914400" lvl="1" indent="-317500" rtl="0">
              <a:lnSpc>
                <a:spcPct val="100000"/>
              </a:lnSpc>
              <a:spcBef>
                <a:spcPts val="0"/>
              </a:spcBef>
              <a:spcAft>
                <a:spcPts val="0"/>
              </a:spcAft>
              <a:buSzPts val="1400"/>
              <a:buChar char="○"/>
              <a:defRPr sz="1400"/>
            </a:lvl2pPr>
            <a:lvl3pPr marL="1371600" lvl="2" indent="-317500" rtl="0">
              <a:lnSpc>
                <a:spcPct val="100000"/>
              </a:lnSpc>
              <a:spcBef>
                <a:spcPts val="0"/>
              </a:spcBef>
              <a:spcAft>
                <a:spcPts val="0"/>
              </a:spcAft>
              <a:buSzPts val="1400"/>
              <a:buChar char="■"/>
              <a:defRPr sz="1400"/>
            </a:lvl3pPr>
            <a:lvl4pPr marL="1828800" lvl="3" indent="-317500" rtl="0">
              <a:lnSpc>
                <a:spcPct val="100000"/>
              </a:lnSpc>
              <a:spcBef>
                <a:spcPts val="0"/>
              </a:spcBef>
              <a:spcAft>
                <a:spcPts val="0"/>
              </a:spcAft>
              <a:buSzPts val="1400"/>
              <a:buChar char="●"/>
              <a:defRPr sz="1400"/>
            </a:lvl4pPr>
            <a:lvl5pPr marL="2286000" lvl="4" indent="-317500" rtl="0">
              <a:lnSpc>
                <a:spcPct val="100000"/>
              </a:lnSpc>
              <a:spcBef>
                <a:spcPts val="0"/>
              </a:spcBef>
              <a:spcAft>
                <a:spcPts val="0"/>
              </a:spcAft>
              <a:buSzPts val="1400"/>
              <a:buChar char="○"/>
              <a:defRPr sz="1400"/>
            </a:lvl5pPr>
            <a:lvl6pPr marL="2743200" lvl="5" indent="-317500" rtl="0">
              <a:lnSpc>
                <a:spcPct val="100000"/>
              </a:lnSpc>
              <a:spcBef>
                <a:spcPts val="0"/>
              </a:spcBef>
              <a:spcAft>
                <a:spcPts val="0"/>
              </a:spcAft>
              <a:buSzPts val="1400"/>
              <a:buChar char="■"/>
              <a:defRPr sz="1400"/>
            </a:lvl6pPr>
            <a:lvl7pPr marL="3200400" lvl="6" indent="-317500" rtl="0">
              <a:lnSpc>
                <a:spcPct val="100000"/>
              </a:lnSpc>
              <a:spcBef>
                <a:spcPts val="0"/>
              </a:spcBef>
              <a:spcAft>
                <a:spcPts val="0"/>
              </a:spcAft>
              <a:buSzPts val="1400"/>
              <a:buChar char="●"/>
              <a:defRPr sz="1400"/>
            </a:lvl7pPr>
            <a:lvl8pPr marL="3657600" lvl="7" indent="-317500" rtl="0">
              <a:lnSpc>
                <a:spcPct val="100000"/>
              </a:lnSpc>
              <a:spcBef>
                <a:spcPts val="0"/>
              </a:spcBef>
              <a:spcAft>
                <a:spcPts val="0"/>
              </a:spcAft>
              <a:buSzPts val="1400"/>
              <a:buChar char="○"/>
              <a:defRPr sz="1400"/>
            </a:lvl8pPr>
            <a:lvl9pPr marL="4114800" lvl="8" indent="-317500" rtl="0">
              <a:lnSpc>
                <a:spcPct val="100000"/>
              </a:lnSpc>
              <a:spcBef>
                <a:spcPts val="0"/>
              </a:spcBef>
              <a:spcAft>
                <a:spcPts val="0"/>
              </a:spcAft>
              <a:buSzPts val="1400"/>
              <a:buChar char="■"/>
              <a:defRPr sz="1400"/>
            </a:lvl9pPr>
          </a:lstStyle>
          <a:p>
            <a:endParaRPr/>
          </a:p>
        </p:txBody>
      </p:sp>
      <p:sp>
        <p:nvSpPr>
          <p:cNvPr id="359" name="Google Shape;359;p19"/>
          <p:cNvSpPr/>
          <p:nvPr/>
        </p:nvSpPr>
        <p:spPr>
          <a:xfrm rot="-471285">
            <a:off x="1102540" y="4336954"/>
            <a:ext cx="6342219" cy="1461915"/>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60" name="Google Shape;360;p19"/>
          <p:cNvSpPr/>
          <p:nvPr/>
        </p:nvSpPr>
        <p:spPr>
          <a:xfrm rot="-471285">
            <a:off x="727638" y="2167731"/>
            <a:ext cx="6342219" cy="1461915"/>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61" name="Google Shape;361;p19"/>
          <p:cNvSpPr/>
          <p:nvPr/>
        </p:nvSpPr>
        <p:spPr>
          <a:xfrm rot="-700966" flipH="1">
            <a:off x="847507" y="3196419"/>
            <a:ext cx="6372852" cy="1461834"/>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8196343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015 Timeline">
  <p:cSld name="015 Timeline">
    <p:spTree>
      <p:nvGrpSpPr>
        <p:cNvPr id="1" name="Shape 362"/>
        <p:cNvGrpSpPr/>
        <p:nvPr/>
      </p:nvGrpSpPr>
      <p:grpSpPr>
        <a:xfrm>
          <a:off x="0" y="0"/>
          <a:ext cx="0" cy="0"/>
          <a:chOff x="0" y="0"/>
          <a:chExt cx="0" cy="0"/>
        </a:xfrm>
      </p:grpSpPr>
      <p:grpSp>
        <p:nvGrpSpPr>
          <p:cNvPr id="363" name="Google Shape;363;p20"/>
          <p:cNvGrpSpPr/>
          <p:nvPr/>
        </p:nvGrpSpPr>
        <p:grpSpPr>
          <a:xfrm>
            <a:off x="6034138" y="4528105"/>
            <a:ext cx="5929997" cy="2330250"/>
            <a:chOff x="1712140" y="3412070"/>
            <a:chExt cx="8769590" cy="3446096"/>
          </a:xfrm>
        </p:grpSpPr>
        <p:grpSp>
          <p:nvGrpSpPr>
            <p:cNvPr id="364" name="Google Shape;364;p20"/>
            <p:cNvGrpSpPr/>
            <p:nvPr/>
          </p:nvGrpSpPr>
          <p:grpSpPr>
            <a:xfrm>
              <a:off x="1712140" y="4978441"/>
              <a:ext cx="1335858" cy="1879449"/>
              <a:chOff x="7139197" y="345537"/>
              <a:chExt cx="4680652" cy="6585317"/>
            </a:xfrm>
          </p:grpSpPr>
          <p:sp>
            <p:nvSpPr>
              <p:cNvPr id="365" name="Google Shape;365;p2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66" name="Google Shape;366;p2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67" name="Google Shape;367;p2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68" name="Google Shape;368;p2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69" name="Google Shape;369;p2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0" name="Google Shape;370;p2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71" name="Google Shape;371;p20"/>
            <p:cNvGrpSpPr/>
            <p:nvPr/>
          </p:nvGrpSpPr>
          <p:grpSpPr>
            <a:xfrm>
              <a:off x="3126221" y="4224860"/>
              <a:ext cx="1871325" cy="2632810"/>
              <a:chOff x="7139197" y="345537"/>
              <a:chExt cx="4680652" cy="6585317"/>
            </a:xfrm>
          </p:grpSpPr>
          <p:sp>
            <p:nvSpPr>
              <p:cNvPr id="372" name="Google Shape;372;p2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3" name="Google Shape;373;p2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4" name="Google Shape;374;p2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5" name="Google Shape;375;p2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6" name="Google Shape;376;p2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7" name="Google Shape;377;p2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78" name="Google Shape;378;p20"/>
            <p:cNvGrpSpPr/>
            <p:nvPr/>
          </p:nvGrpSpPr>
          <p:grpSpPr>
            <a:xfrm>
              <a:off x="4963149" y="3412070"/>
              <a:ext cx="2449385" cy="3446096"/>
              <a:chOff x="7139197" y="345537"/>
              <a:chExt cx="4680652" cy="6585317"/>
            </a:xfrm>
          </p:grpSpPr>
          <p:sp>
            <p:nvSpPr>
              <p:cNvPr id="379" name="Google Shape;379;p2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0" name="Google Shape;380;p2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1" name="Google Shape;381;p2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2" name="Google Shape;382;p2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3" name="Google Shape;383;p2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4" name="Google Shape;384;p2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85" name="Google Shape;385;p20"/>
            <p:cNvGrpSpPr/>
            <p:nvPr/>
          </p:nvGrpSpPr>
          <p:grpSpPr>
            <a:xfrm>
              <a:off x="7308755" y="4224860"/>
              <a:ext cx="1871325" cy="2632810"/>
              <a:chOff x="7139197" y="345537"/>
              <a:chExt cx="4680652" cy="6585317"/>
            </a:xfrm>
          </p:grpSpPr>
          <p:sp>
            <p:nvSpPr>
              <p:cNvPr id="386" name="Google Shape;386;p2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7" name="Google Shape;387;p2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8" name="Google Shape;388;p2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9" name="Google Shape;389;p2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0" name="Google Shape;390;p2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1" name="Google Shape;391;p2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392" name="Google Shape;392;p20"/>
            <p:cNvGrpSpPr/>
            <p:nvPr/>
          </p:nvGrpSpPr>
          <p:grpSpPr>
            <a:xfrm>
              <a:off x="9145872" y="4978441"/>
              <a:ext cx="1335858" cy="1879449"/>
              <a:chOff x="7139197" y="345537"/>
              <a:chExt cx="4680652" cy="6585317"/>
            </a:xfrm>
          </p:grpSpPr>
          <p:sp>
            <p:nvSpPr>
              <p:cNvPr id="393" name="Google Shape;393;p20"/>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4" name="Google Shape;394;p20"/>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5" name="Google Shape;395;p20"/>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6" name="Google Shape;396;p20"/>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7" name="Google Shape;397;p20"/>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8" name="Google Shape;398;p20"/>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399" name="Google Shape;399;p20"/>
          <p:cNvSpPr txBox="1">
            <a:spLocks noGrp="1"/>
          </p:cNvSpPr>
          <p:nvPr>
            <p:ph type="subTitle" idx="1"/>
          </p:nvPr>
        </p:nvSpPr>
        <p:spPr>
          <a:xfrm>
            <a:off x="415600" y="2316000"/>
            <a:ext cx="1997700" cy="606900"/>
          </a:xfrm>
          <a:prstGeom prst="rect">
            <a:avLst/>
          </a:prstGeom>
        </p:spPr>
        <p:txBody>
          <a:bodyPr spcFirstLastPara="1" wrap="square" lIns="121900" tIns="121900" rIns="121900" bIns="121900" anchor="t" anchorCtr="0">
            <a:noAutofit/>
          </a:bodyPr>
          <a:lstStyle>
            <a:lvl1pPr lvl="0" algn="ctr" rtl="0">
              <a:spcBef>
                <a:spcPts val="0"/>
              </a:spcBef>
              <a:spcAft>
                <a:spcPts val="0"/>
              </a:spcAft>
              <a:buSzPts val="2200"/>
              <a:buNone/>
              <a:defRPr sz="2200" b="1"/>
            </a:lvl1pPr>
            <a:lvl2pPr lvl="1" algn="ctr" rtl="0">
              <a:spcBef>
                <a:spcPts val="2100"/>
              </a:spcBef>
              <a:spcAft>
                <a:spcPts val="0"/>
              </a:spcAft>
              <a:buSzPts val="2200"/>
              <a:buNone/>
              <a:defRPr sz="2200" b="1"/>
            </a:lvl2pPr>
            <a:lvl3pPr lvl="2" algn="ctr" rtl="0">
              <a:spcBef>
                <a:spcPts val="2100"/>
              </a:spcBef>
              <a:spcAft>
                <a:spcPts val="0"/>
              </a:spcAft>
              <a:buSzPts val="2200"/>
              <a:buNone/>
              <a:defRPr sz="2200" b="1"/>
            </a:lvl3pPr>
            <a:lvl4pPr lvl="3" algn="ctr" rtl="0">
              <a:spcBef>
                <a:spcPts val="2100"/>
              </a:spcBef>
              <a:spcAft>
                <a:spcPts val="0"/>
              </a:spcAft>
              <a:buSzPts val="2200"/>
              <a:buNone/>
              <a:defRPr sz="2200" b="1"/>
            </a:lvl4pPr>
            <a:lvl5pPr lvl="4" algn="ctr" rtl="0">
              <a:spcBef>
                <a:spcPts val="2100"/>
              </a:spcBef>
              <a:spcAft>
                <a:spcPts val="0"/>
              </a:spcAft>
              <a:buSzPts val="2200"/>
              <a:buNone/>
              <a:defRPr sz="2200" b="1"/>
            </a:lvl5pPr>
            <a:lvl6pPr lvl="5" algn="ctr" rtl="0">
              <a:spcBef>
                <a:spcPts val="2100"/>
              </a:spcBef>
              <a:spcAft>
                <a:spcPts val="0"/>
              </a:spcAft>
              <a:buSzPts val="2200"/>
              <a:buNone/>
              <a:defRPr sz="2200" b="1"/>
            </a:lvl6pPr>
            <a:lvl7pPr lvl="6" algn="ctr" rtl="0">
              <a:spcBef>
                <a:spcPts val="2100"/>
              </a:spcBef>
              <a:spcAft>
                <a:spcPts val="0"/>
              </a:spcAft>
              <a:buSzPts val="2200"/>
              <a:buNone/>
              <a:defRPr sz="2200" b="1"/>
            </a:lvl7pPr>
            <a:lvl8pPr lvl="7" algn="ctr" rtl="0">
              <a:spcBef>
                <a:spcPts val="2100"/>
              </a:spcBef>
              <a:spcAft>
                <a:spcPts val="0"/>
              </a:spcAft>
              <a:buSzPts val="2200"/>
              <a:buNone/>
              <a:defRPr sz="2200" b="1"/>
            </a:lvl8pPr>
            <a:lvl9pPr lvl="8" algn="ctr" rtl="0">
              <a:spcBef>
                <a:spcPts val="2100"/>
              </a:spcBef>
              <a:spcAft>
                <a:spcPts val="2100"/>
              </a:spcAft>
              <a:buSzPts val="2200"/>
              <a:buNone/>
              <a:defRPr sz="2200" b="1"/>
            </a:lvl9pPr>
          </a:lstStyle>
          <a:p>
            <a:endParaRPr/>
          </a:p>
        </p:txBody>
      </p:sp>
      <p:sp>
        <p:nvSpPr>
          <p:cNvPr id="400" name="Google Shape;400;p20"/>
          <p:cNvSpPr txBox="1">
            <a:spLocks noGrp="1"/>
          </p:cNvSpPr>
          <p:nvPr>
            <p:ph type="subTitle" idx="2"/>
          </p:nvPr>
        </p:nvSpPr>
        <p:spPr>
          <a:xfrm>
            <a:off x="2775377" y="2316000"/>
            <a:ext cx="1997700" cy="606900"/>
          </a:xfrm>
          <a:prstGeom prst="rect">
            <a:avLst/>
          </a:prstGeom>
        </p:spPr>
        <p:txBody>
          <a:bodyPr spcFirstLastPara="1" wrap="square" lIns="121900" tIns="121900" rIns="121900" bIns="121900" anchor="t" anchorCtr="0">
            <a:noAutofit/>
          </a:bodyPr>
          <a:lstStyle>
            <a:lvl1pPr lvl="0" algn="ctr" rtl="0">
              <a:spcBef>
                <a:spcPts val="0"/>
              </a:spcBef>
              <a:spcAft>
                <a:spcPts val="0"/>
              </a:spcAft>
              <a:buSzPts val="2200"/>
              <a:buNone/>
              <a:defRPr sz="2200" b="1"/>
            </a:lvl1pPr>
            <a:lvl2pPr lvl="1" algn="ctr" rtl="0">
              <a:spcBef>
                <a:spcPts val="2100"/>
              </a:spcBef>
              <a:spcAft>
                <a:spcPts val="0"/>
              </a:spcAft>
              <a:buSzPts val="2200"/>
              <a:buNone/>
              <a:defRPr sz="2200" b="1"/>
            </a:lvl2pPr>
            <a:lvl3pPr lvl="2" algn="ctr" rtl="0">
              <a:spcBef>
                <a:spcPts val="2100"/>
              </a:spcBef>
              <a:spcAft>
                <a:spcPts val="0"/>
              </a:spcAft>
              <a:buSzPts val="2200"/>
              <a:buNone/>
              <a:defRPr sz="2200" b="1"/>
            </a:lvl3pPr>
            <a:lvl4pPr lvl="3" algn="ctr" rtl="0">
              <a:spcBef>
                <a:spcPts val="2100"/>
              </a:spcBef>
              <a:spcAft>
                <a:spcPts val="0"/>
              </a:spcAft>
              <a:buSzPts val="2200"/>
              <a:buNone/>
              <a:defRPr sz="2200" b="1"/>
            </a:lvl4pPr>
            <a:lvl5pPr lvl="4" algn="ctr" rtl="0">
              <a:spcBef>
                <a:spcPts val="2100"/>
              </a:spcBef>
              <a:spcAft>
                <a:spcPts val="0"/>
              </a:spcAft>
              <a:buSzPts val="2200"/>
              <a:buNone/>
              <a:defRPr sz="2200" b="1"/>
            </a:lvl5pPr>
            <a:lvl6pPr lvl="5" algn="ctr" rtl="0">
              <a:spcBef>
                <a:spcPts val="2100"/>
              </a:spcBef>
              <a:spcAft>
                <a:spcPts val="0"/>
              </a:spcAft>
              <a:buSzPts val="2200"/>
              <a:buNone/>
              <a:defRPr sz="2200" b="1"/>
            </a:lvl6pPr>
            <a:lvl7pPr lvl="6" algn="ctr" rtl="0">
              <a:spcBef>
                <a:spcPts val="2100"/>
              </a:spcBef>
              <a:spcAft>
                <a:spcPts val="0"/>
              </a:spcAft>
              <a:buSzPts val="2200"/>
              <a:buNone/>
              <a:defRPr sz="2200" b="1"/>
            </a:lvl7pPr>
            <a:lvl8pPr lvl="7" algn="ctr" rtl="0">
              <a:spcBef>
                <a:spcPts val="2100"/>
              </a:spcBef>
              <a:spcAft>
                <a:spcPts val="0"/>
              </a:spcAft>
              <a:buSzPts val="2200"/>
              <a:buNone/>
              <a:defRPr sz="2200" b="1"/>
            </a:lvl8pPr>
            <a:lvl9pPr lvl="8" algn="ctr" rtl="0">
              <a:spcBef>
                <a:spcPts val="2100"/>
              </a:spcBef>
              <a:spcAft>
                <a:spcPts val="2100"/>
              </a:spcAft>
              <a:buSzPts val="2200"/>
              <a:buNone/>
              <a:defRPr sz="2200" b="1"/>
            </a:lvl9pPr>
          </a:lstStyle>
          <a:p>
            <a:endParaRPr/>
          </a:p>
        </p:txBody>
      </p:sp>
      <p:sp>
        <p:nvSpPr>
          <p:cNvPr id="401" name="Google Shape;401;p20"/>
          <p:cNvSpPr txBox="1">
            <a:spLocks noGrp="1"/>
          </p:cNvSpPr>
          <p:nvPr>
            <p:ph type="subTitle" idx="3"/>
          </p:nvPr>
        </p:nvSpPr>
        <p:spPr>
          <a:xfrm>
            <a:off x="5135153" y="2342500"/>
            <a:ext cx="1997700" cy="606900"/>
          </a:xfrm>
          <a:prstGeom prst="rect">
            <a:avLst/>
          </a:prstGeom>
        </p:spPr>
        <p:txBody>
          <a:bodyPr spcFirstLastPara="1" wrap="square" lIns="121900" tIns="121900" rIns="121900" bIns="121900" anchor="t" anchorCtr="0">
            <a:noAutofit/>
          </a:bodyPr>
          <a:lstStyle>
            <a:lvl1pPr lvl="0" algn="ctr" rtl="0">
              <a:spcBef>
                <a:spcPts val="0"/>
              </a:spcBef>
              <a:spcAft>
                <a:spcPts val="0"/>
              </a:spcAft>
              <a:buSzPts val="2200"/>
              <a:buNone/>
              <a:defRPr sz="2200" b="1"/>
            </a:lvl1pPr>
            <a:lvl2pPr lvl="1" algn="ctr" rtl="0">
              <a:spcBef>
                <a:spcPts val="2100"/>
              </a:spcBef>
              <a:spcAft>
                <a:spcPts val="0"/>
              </a:spcAft>
              <a:buSzPts val="2200"/>
              <a:buNone/>
              <a:defRPr sz="2200" b="1"/>
            </a:lvl2pPr>
            <a:lvl3pPr lvl="2" algn="ctr" rtl="0">
              <a:spcBef>
                <a:spcPts val="2100"/>
              </a:spcBef>
              <a:spcAft>
                <a:spcPts val="0"/>
              </a:spcAft>
              <a:buSzPts val="2200"/>
              <a:buNone/>
              <a:defRPr sz="2200" b="1"/>
            </a:lvl3pPr>
            <a:lvl4pPr lvl="3" algn="ctr" rtl="0">
              <a:spcBef>
                <a:spcPts val="2100"/>
              </a:spcBef>
              <a:spcAft>
                <a:spcPts val="0"/>
              </a:spcAft>
              <a:buSzPts val="2200"/>
              <a:buNone/>
              <a:defRPr sz="2200" b="1"/>
            </a:lvl4pPr>
            <a:lvl5pPr lvl="4" algn="ctr" rtl="0">
              <a:spcBef>
                <a:spcPts val="2100"/>
              </a:spcBef>
              <a:spcAft>
                <a:spcPts val="0"/>
              </a:spcAft>
              <a:buSzPts val="2200"/>
              <a:buNone/>
              <a:defRPr sz="2200" b="1"/>
            </a:lvl5pPr>
            <a:lvl6pPr lvl="5" algn="ctr" rtl="0">
              <a:spcBef>
                <a:spcPts val="2100"/>
              </a:spcBef>
              <a:spcAft>
                <a:spcPts val="0"/>
              </a:spcAft>
              <a:buSzPts val="2200"/>
              <a:buNone/>
              <a:defRPr sz="2200" b="1"/>
            </a:lvl6pPr>
            <a:lvl7pPr lvl="6" algn="ctr" rtl="0">
              <a:spcBef>
                <a:spcPts val="2100"/>
              </a:spcBef>
              <a:spcAft>
                <a:spcPts val="0"/>
              </a:spcAft>
              <a:buSzPts val="2200"/>
              <a:buNone/>
              <a:defRPr sz="2200" b="1"/>
            </a:lvl7pPr>
            <a:lvl8pPr lvl="7" algn="ctr" rtl="0">
              <a:spcBef>
                <a:spcPts val="2100"/>
              </a:spcBef>
              <a:spcAft>
                <a:spcPts val="0"/>
              </a:spcAft>
              <a:buSzPts val="2200"/>
              <a:buNone/>
              <a:defRPr sz="2200" b="1"/>
            </a:lvl8pPr>
            <a:lvl9pPr lvl="8" algn="ctr" rtl="0">
              <a:spcBef>
                <a:spcPts val="2100"/>
              </a:spcBef>
              <a:spcAft>
                <a:spcPts val="2100"/>
              </a:spcAft>
              <a:buSzPts val="2200"/>
              <a:buNone/>
              <a:defRPr sz="2200" b="1"/>
            </a:lvl9pPr>
          </a:lstStyle>
          <a:p>
            <a:endParaRPr/>
          </a:p>
        </p:txBody>
      </p:sp>
      <p:sp>
        <p:nvSpPr>
          <p:cNvPr id="402" name="Google Shape;402;p20"/>
          <p:cNvSpPr txBox="1">
            <a:spLocks noGrp="1"/>
          </p:cNvSpPr>
          <p:nvPr>
            <p:ph type="subTitle" idx="4"/>
          </p:nvPr>
        </p:nvSpPr>
        <p:spPr>
          <a:xfrm>
            <a:off x="7494930" y="2342500"/>
            <a:ext cx="1997700" cy="606900"/>
          </a:xfrm>
          <a:prstGeom prst="rect">
            <a:avLst/>
          </a:prstGeom>
        </p:spPr>
        <p:txBody>
          <a:bodyPr spcFirstLastPara="1" wrap="square" lIns="121900" tIns="121900" rIns="121900" bIns="121900" anchor="t" anchorCtr="0">
            <a:noAutofit/>
          </a:bodyPr>
          <a:lstStyle>
            <a:lvl1pPr lvl="0" algn="ctr" rtl="0">
              <a:spcBef>
                <a:spcPts val="0"/>
              </a:spcBef>
              <a:spcAft>
                <a:spcPts val="0"/>
              </a:spcAft>
              <a:buSzPts val="2200"/>
              <a:buNone/>
              <a:defRPr sz="2200" b="1"/>
            </a:lvl1pPr>
            <a:lvl2pPr lvl="1" algn="ctr" rtl="0">
              <a:spcBef>
                <a:spcPts val="2100"/>
              </a:spcBef>
              <a:spcAft>
                <a:spcPts val="0"/>
              </a:spcAft>
              <a:buSzPts val="2200"/>
              <a:buNone/>
              <a:defRPr sz="2200" b="1"/>
            </a:lvl2pPr>
            <a:lvl3pPr lvl="2" algn="ctr" rtl="0">
              <a:spcBef>
                <a:spcPts val="2100"/>
              </a:spcBef>
              <a:spcAft>
                <a:spcPts val="0"/>
              </a:spcAft>
              <a:buSzPts val="2200"/>
              <a:buNone/>
              <a:defRPr sz="2200" b="1"/>
            </a:lvl3pPr>
            <a:lvl4pPr lvl="3" algn="ctr" rtl="0">
              <a:spcBef>
                <a:spcPts val="2100"/>
              </a:spcBef>
              <a:spcAft>
                <a:spcPts val="0"/>
              </a:spcAft>
              <a:buSzPts val="2200"/>
              <a:buNone/>
              <a:defRPr sz="2200" b="1"/>
            </a:lvl4pPr>
            <a:lvl5pPr lvl="4" algn="ctr" rtl="0">
              <a:spcBef>
                <a:spcPts val="2100"/>
              </a:spcBef>
              <a:spcAft>
                <a:spcPts val="0"/>
              </a:spcAft>
              <a:buSzPts val="2200"/>
              <a:buNone/>
              <a:defRPr sz="2200" b="1"/>
            </a:lvl5pPr>
            <a:lvl6pPr lvl="5" algn="ctr" rtl="0">
              <a:spcBef>
                <a:spcPts val="2100"/>
              </a:spcBef>
              <a:spcAft>
                <a:spcPts val="0"/>
              </a:spcAft>
              <a:buSzPts val="2200"/>
              <a:buNone/>
              <a:defRPr sz="2200" b="1"/>
            </a:lvl6pPr>
            <a:lvl7pPr lvl="6" algn="ctr" rtl="0">
              <a:spcBef>
                <a:spcPts val="2100"/>
              </a:spcBef>
              <a:spcAft>
                <a:spcPts val="0"/>
              </a:spcAft>
              <a:buSzPts val="2200"/>
              <a:buNone/>
              <a:defRPr sz="2200" b="1"/>
            </a:lvl7pPr>
            <a:lvl8pPr lvl="7" algn="ctr" rtl="0">
              <a:spcBef>
                <a:spcPts val="2100"/>
              </a:spcBef>
              <a:spcAft>
                <a:spcPts val="0"/>
              </a:spcAft>
              <a:buSzPts val="2200"/>
              <a:buNone/>
              <a:defRPr sz="2200" b="1"/>
            </a:lvl8pPr>
            <a:lvl9pPr lvl="8" algn="ctr" rtl="0">
              <a:spcBef>
                <a:spcPts val="2100"/>
              </a:spcBef>
              <a:spcAft>
                <a:spcPts val="2100"/>
              </a:spcAft>
              <a:buSzPts val="2200"/>
              <a:buNone/>
              <a:defRPr sz="2200" b="1"/>
            </a:lvl9pPr>
          </a:lstStyle>
          <a:p>
            <a:endParaRPr/>
          </a:p>
        </p:txBody>
      </p:sp>
      <p:sp>
        <p:nvSpPr>
          <p:cNvPr id="403" name="Google Shape;403;p20"/>
          <p:cNvSpPr txBox="1">
            <a:spLocks noGrp="1"/>
          </p:cNvSpPr>
          <p:nvPr>
            <p:ph type="subTitle" idx="5"/>
          </p:nvPr>
        </p:nvSpPr>
        <p:spPr>
          <a:xfrm>
            <a:off x="9854707" y="2316000"/>
            <a:ext cx="1997700" cy="606900"/>
          </a:xfrm>
          <a:prstGeom prst="rect">
            <a:avLst/>
          </a:prstGeom>
        </p:spPr>
        <p:txBody>
          <a:bodyPr spcFirstLastPara="1" wrap="square" lIns="121900" tIns="121900" rIns="121900" bIns="121900" anchor="t" anchorCtr="0">
            <a:noAutofit/>
          </a:bodyPr>
          <a:lstStyle>
            <a:lvl1pPr lvl="0" algn="ctr" rtl="0">
              <a:spcBef>
                <a:spcPts val="0"/>
              </a:spcBef>
              <a:spcAft>
                <a:spcPts val="0"/>
              </a:spcAft>
              <a:buSzPts val="2200"/>
              <a:buNone/>
              <a:defRPr sz="2200" b="1"/>
            </a:lvl1pPr>
            <a:lvl2pPr lvl="1" algn="ctr" rtl="0">
              <a:spcBef>
                <a:spcPts val="2100"/>
              </a:spcBef>
              <a:spcAft>
                <a:spcPts val="0"/>
              </a:spcAft>
              <a:buSzPts val="2200"/>
              <a:buNone/>
              <a:defRPr sz="2200" b="1"/>
            </a:lvl2pPr>
            <a:lvl3pPr lvl="2" algn="ctr" rtl="0">
              <a:spcBef>
                <a:spcPts val="2100"/>
              </a:spcBef>
              <a:spcAft>
                <a:spcPts val="0"/>
              </a:spcAft>
              <a:buSzPts val="2200"/>
              <a:buNone/>
              <a:defRPr sz="2200" b="1"/>
            </a:lvl3pPr>
            <a:lvl4pPr lvl="3" algn="ctr" rtl="0">
              <a:spcBef>
                <a:spcPts val="2100"/>
              </a:spcBef>
              <a:spcAft>
                <a:spcPts val="0"/>
              </a:spcAft>
              <a:buSzPts val="2200"/>
              <a:buNone/>
              <a:defRPr sz="2200" b="1"/>
            </a:lvl4pPr>
            <a:lvl5pPr lvl="4" algn="ctr" rtl="0">
              <a:spcBef>
                <a:spcPts val="2100"/>
              </a:spcBef>
              <a:spcAft>
                <a:spcPts val="0"/>
              </a:spcAft>
              <a:buSzPts val="2200"/>
              <a:buNone/>
              <a:defRPr sz="2200" b="1"/>
            </a:lvl5pPr>
            <a:lvl6pPr lvl="5" algn="ctr" rtl="0">
              <a:spcBef>
                <a:spcPts val="2100"/>
              </a:spcBef>
              <a:spcAft>
                <a:spcPts val="0"/>
              </a:spcAft>
              <a:buSzPts val="2200"/>
              <a:buNone/>
              <a:defRPr sz="2200" b="1"/>
            </a:lvl6pPr>
            <a:lvl7pPr lvl="6" algn="ctr" rtl="0">
              <a:spcBef>
                <a:spcPts val="2100"/>
              </a:spcBef>
              <a:spcAft>
                <a:spcPts val="0"/>
              </a:spcAft>
              <a:buSzPts val="2200"/>
              <a:buNone/>
              <a:defRPr sz="2200" b="1"/>
            </a:lvl7pPr>
            <a:lvl8pPr lvl="7" algn="ctr" rtl="0">
              <a:spcBef>
                <a:spcPts val="2100"/>
              </a:spcBef>
              <a:spcAft>
                <a:spcPts val="0"/>
              </a:spcAft>
              <a:buSzPts val="2200"/>
              <a:buNone/>
              <a:defRPr sz="2200" b="1"/>
            </a:lvl8pPr>
            <a:lvl9pPr lvl="8" algn="ctr" rtl="0">
              <a:spcBef>
                <a:spcPts val="2100"/>
              </a:spcBef>
              <a:spcAft>
                <a:spcPts val="2100"/>
              </a:spcAft>
              <a:buSzPts val="2200"/>
              <a:buNone/>
              <a:defRPr sz="2200" b="1"/>
            </a:lvl9pPr>
          </a:lstStyle>
          <a:p>
            <a:endParaRPr/>
          </a:p>
        </p:txBody>
      </p:sp>
      <p:sp>
        <p:nvSpPr>
          <p:cNvPr id="404" name="Google Shape;404;p20"/>
          <p:cNvSpPr txBox="1">
            <a:spLocks noGrp="1"/>
          </p:cNvSpPr>
          <p:nvPr>
            <p:ph type="title"/>
          </p:nvPr>
        </p:nvSpPr>
        <p:spPr>
          <a:xfrm>
            <a:off x="415600" y="974367"/>
            <a:ext cx="113607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405" name="Google Shape;405;p20"/>
          <p:cNvSpPr txBox="1">
            <a:spLocks noGrp="1"/>
          </p:cNvSpPr>
          <p:nvPr>
            <p:ph type="body" idx="6"/>
          </p:nvPr>
        </p:nvSpPr>
        <p:spPr>
          <a:xfrm>
            <a:off x="415600" y="3238625"/>
            <a:ext cx="1997700" cy="2330100"/>
          </a:xfrm>
          <a:prstGeom prst="rect">
            <a:avLst/>
          </a:prstGeom>
        </p:spPr>
        <p:txBody>
          <a:bodyPr spcFirstLastPara="1" wrap="square" lIns="121900" tIns="121900" rIns="121900" bIns="121900" anchor="t" anchorCtr="0">
            <a:noAutofit/>
          </a:bodyPr>
          <a:lstStyle>
            <a:lvl1pPr marL="457200" lvl="0" indent="-330200">
              <a:spcBef>
                <a:spcPts val="0"/>
              </a:spcBef>
              <a:spcAft>
                <a:spcPts val="0"/>
              </a:spcAft>
              <a:buSzPts val="1600"/>
              <a:buChar char="●"/>
              <a:defRPr sz="16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406" name="Google Shape;406;p20"/>
          <p:cNvSpPr txBox="1">
            <a:spLocks noGrp="1"/>
          </p:cNvSpPr>
          <p:nvPr>
            <p:ph type="body" idx="7"/>
          </p:nvPr>
        </p:nvSpPr>
        <p:spPr>
          <a:xfrm>
            <a:off x="2775375" y="3238625"/>
            <a:ext cx="1997700" cy="2330100"/>
          </a:xfrm>
          <a:prstGeom prst="rect">
            <a:avLst/>
          </a:prstGeom>
        </p:spPr>
        <p:txBody>
          <a:bodyPr spcFirstLastPara="1" wrap="square" lIns="121900" tIns="121900" rIns="121900" bIns="121900" anchor="t" anchorCtr="0">
            <a:noAutofit/>
          </a:bodyPr>
          <a:lstStyle>
            <a:lvl1pPr marL="457200" lvl="0" indent="-330200" rtl="0">
              <a:spcBef>
                <a:spcPts val="0"/>
              </a:spcBef>
              <a:spcAft>
                <a:spcPts val="0"/>
              </a:spcAft>
              <a:buSzPts val="1600"/>
              <a:buChar char="●"/>
              <a:defRPr sz="1600"/>
            </a:lvl1pPr>
            <a:lvl2pPr marL="914400" lvl="1" indent="-330200" rtl="0">
              <a:spcBef>
                <a:spcPts val="2100"/>
              </a:spcBef>
              <a:spcAft>
                <a:spcPts val="0"/>
              </a:spcAft>
              <a:buSzPts val="1600"/>
              <a:buChar char="○"/>
              <a:defRPr sz="1600"/>
            </a:lvl2pPr>
            <a:lvl3pPr marL="1371600" lvl="2" indent="-330200" rtl="0">
              <a:spcBef>
                <a:spcPts val="2100"/>
              </a:spcBef>
              <a:spcAft>
                <a:spcPts val="0"/>
              </a:spcAft>
              <a:buSzPts val="1600"/>
              <a:buChar char="■"/>
              <a:defRPr sz="1600"/>
            </a:lvl3pPr>
            <a:lvl4pPr marL="1828800" lvl="3" indent="-330200" rtl="0">
              <a:spcBef>
                <a:spcPts val="2100"/>
              </a:spcBef>
              <a:spcAft>
                <a:spcPts val="0"/>
              </a:spcAft>
              <a:buSzPts val="1600"/>
              <a:buChar char="●"/>
              <a:defRPr sz="1600"/>
            </a:lvl4pPr>
            <a:lvl5pPr marL="2286000" lvl="4" indent="-330200" rtl="0">
              <a:spcBef>
                <a:spcPts val="2100"/>
              </a:spcBef>
              <a:spcAft>
                <a:spcPts val="0"/>
              </a:spcAft>
              <a:buSzPts val="1600"/>
              <a:buChar char="○"/>
              <a:defRPr sz="1600"/>
            </a:lvl5pPr>
            <a:lvl6pPr marL="2743200" lvl="5" indent="-330200" rtl="0">
              <a:spcBef>
                <a:spcPts val="2100"/>
              </a:spcBef>
              <a:spcAft>
                <a:spcPts val="0"/>
              </a:spcAft>
              <a:buSzPts val="1600"/>
              <a:buChar char="■"/>
              <a:defRPr sz="1600"/>
            </a:lvl6pPr>
            <a:lvl7pPr marL="3200400" lvl="6" indent="-330200" rtl="0">
              <a:spcBef>
                <a:spcPts val="2100"/>
              </a:spcBef>
              <a:spcAft>
                <a:spcPts val="0"/>
              </a:spcAft>
              <a:buSzPts val="1600"/>
              <a:buChar char="●"/>
              <a:defRPr sz="1600"/>
            </a:lvl7pPr>
            <a:lvl8pPr marL="3657600" lvl="7" indent="-330200" rtl="0">
              <a:spcBef>
                <a:spcPts val="2100"/>
              </a:spcBef>
              <a:spcAft>
                <a:spcPts val="0"/>
              </a:spcAft>
              <a:buSzPts val="1600"/>
              <a:buChar char="○"/>
              <a:defRPr sz="1600"/>
            </a:lvl8pPr>
            <a:lvl9pPr marL="4114800" lvl="8" indent="-330200" rtl="0">
              <a:spcBef>
                <a:spcPts val="2100"/>
              </a:spcBef>
              <a:spcAft>
                <a:spcPts val="2100"/>
              </a:spcAft>
              <a:buSzPts val="1600"/>
              <a:buChar char="■"/>
              <a:defRPr sz="1600"/>
            </a:lvl9pPr>
          </a:lstStyle>
          <a:p>
            <a:endParaRPr/>
          </a:p>
        </p:txBody>
      </p:sp>
      <p:sp>
        <p:nvSpPr>
          <p:cNvPr id="407" name="Google Shape;407;p20"/>
          <p:cNvSpPr txBox="1">
            <a:spLocks noGrp="1"/>
          </p:cNvSpPr>
          <p:nvPr>
            <p:ph type="body" idx="8"/>
          </p:nvPr>
        </p:nvSpPr>
        <p:spPr>
          <a:xfrm>
            <a:off x="5135150" y="3238625"/>
            <a:ext cx="1997700" cy="2330100"/>
          </a:xfrm>
          <a:prstGeom prst="rect">
            <a:avLst/>
          </a:prstGeom>
        </p:spPr>
        <p:txBody>
          <a:bodyPr spcFirstLastPara="1" wrap="square" lIns="121900" tIns="121900" rIns="121900" bIns="121900" anchor="t" anchorCtr="0">
            <a:noAutofit/>
          </a:bodyPr>
          <a:lstStyle>
            <a:lvl1pPr marL="457200" lvl="0" indent="-330200" rtl="0">
              <a:spcBef>
                <a:spcPts val="0"/>
              </a:spcBef>
              <a:spcAft>
                <a:spcPts val="0"/>
              </a:spcAft>
              <a:buSzPts val="1600"/>
              <a:buChar char="●"/>
              <a:defRPr sz="1600"/>
            </a:lvl1pPr>
            <a:lvl2pPr marL="914400" lvl="1" indent="-330200" rtl="0">
              <a:spcBef>
                <a:spcPts val="2100"/>
              </a:spcBef>
              <a:spcAft>
                <a:spcPts val="0"/>
              </a:spcAft>
              <a:buSzPts val="1600"/>
              <a:buChar char="○"/>
              <a:defRPr sz="1600"/>
            </a:lvl2pPr>
            <a:lvl3pPr marL="1371600" lvl="2" indent="-330200" rtl="0">
              <a:spcBef>
                <a:spcPts val="2100"/>
              </a:spcBef>
              <a:spcAft>
                <a:spcPts val="0"/>
              </a:spcAft>
              <a:buSzPts val="1600"/>
              <a:buChar char="■"/>
              <a:defRPr sz="1600"/>
            </a:lvl3pPr>
            <a:lvl4pPr marL="1828800" lvl="3" indent="-330200" rtl="0">
              <a:spcBef>
                <a:spcPts val="2100"/>
              </a:spcBef>
              <a:spcAft>
                <a:spcPts val="0"/>
              </a:spcAft>
              <a:buSzPts val="1600"/>
              <a:buChar char="●"/>
              <a:defRPr sz="1600"/>
            </a:lvl4pPr>
            <a:lvl5pPr marL="2286000" lvl="4" indent="-330200" rtl="0">
              <a:spcBef>
                <a:spcPts val="2100"/>
              </a:spcBef>
              <a:spcAft>
                <a:spcPts val="0"/>
              </a:spcAft>
              <a:buSzPts val="1600"/>
              <a:buChar char="○"/>
              <a:defRPr sz="1600"/>
            </a:lvl5pPr>
            <a:lvl6pPr marL="2743200" lvl="5" indent="-330200" rtl="0">
              <a:spcBef>
                <a:spcPts val="2100"/>
              </a:spcBef>
              <a:spcAft>
                <a:spcPts val="0"/>
              </a:spcAft>
              <a:buSzPts val="1600"/>
              <a:buChar char="■"/>
              <a:defRPr sz="1600"/>
            </a:lvl6pPr>
            <a:lvl7pPr marL="3200400" lvl="6" indent="-330200" rtl="0">
              <a:spcBef>
                <a:spcPts val="2100"/>
              </a:spcBef>
              <a:spcAft>
                <a:spcPts val="0"/>
              </a:spcAft>
              <a:buSzPts val="1600"/>
              <a:buChar char="●"/>
              <a:defRPr sz="1600"/>
            </a:lvl7pPr>
            <a:lvl8pPr marL="3657600" lvl="7" indent="-330200" rtl="0">
              <a:spcBef>
                <a:spcPts val="2100"/>
              </a:spcBef>
              <a:spcAft>
                <a:spcPts val="0"/>
              </a:spcAft>
              <a:buSzPts val="1600"/>
              <a:buChar char="○"/>
              <a:defRPr sz="1600"/>
            </a:lvl8pPr>
            <a:lvl9pPr marL="4114800" lvl="8" indent="-330200" rtl="0">
              <a:spcBef>
                <a:spcPts val="2100"/>
              </a:spcBef>
              <a:spcAft>
                <a:spcPts val="2100"/>
              </a:spcAft>
              <a:buSzPts val="1600"/>
              <a:buChar char="■"/>
              <a:defRPr sz="1600"/>
            </a:lvl9pPr>
          </a:lstStyle>
          <a:p>
            <a:endParaRPr/>
          </a:p>
        </p:txBody>
      </p:sp>
      <p:sp>
        <p:nvSpPr>
          <p:cNvPr id="408" name="Google Shape;408;p20"/>
          <p:cNvSpPr txBox="1">
            <a:spLocks noGrp="1"/>
          </p:cNvSpPr>
          <p:nvPr>
            <p:ph type="body" idx="9"/>
          </p:nvPr>
        </p:nvSpPr>
        <p:spPr>
          <a:xfrm>
            <a:off x="7494925" y="3238625"/>
            <a:ext cx="1997700" cy="2330100"/>
          </a:xfrm>
          <a:prstGeom prst="rect">
            <a:avLst/>
          </a:prstGeom>
        </p:spPr>
        <p:txBody>
          <a:bodyPr spcFirstLastPara="1" wrap="square" lIns="121900" tIns="121900" rIns="121900" bIns="121900" anchor="t" anchorCtr="0">
            <a:noAutofit/>
          </a:bodyPr>
          <a:lstStyle>
            <a:lvl1pPr marL="457200" lvl="0" indent="-330200" rtl="0">
              <a:spcBef>
                <a:spcPts val="0"/>
              </a:spcBef>
              <a:spcAft>
                <a:spcPts val="0"/>
              </a:spcAft>
              <a:buSzPts val="1600"/>
              <a:buChar char="●"/>
              <a:defRPr sz="1600"/>
            </a:lvl1pPr>
            <a:lvl2pPr marL="914400" lvl="1" indent="-330200" rtl="0">
              <a:spcBef>
                <a:spcPts val="2100"/>
              </a:spcBef>
              <a:spcAft>
                <a:spcPts val="0"/>
              </a:spcAft>
              <a:buSzPts val="1600"/>
              <a:buChar char="○"/>
              <a:defRPr sz="1600"/>
            </a:lvl2pPr>
            <a:lvl3pPr marL="1371600" lvl="2" indent="-330200" rtl="0">
              <a:spcBef>
                <a:spcPts val="2100"/>
              </a:spcBef>
              <a:spcAft>
                <a:spcPts val="0"/>
              </a:spcAft>
              <a:buSzPts val="1600"/>
              <a:buChar char="■"/>
              <a:defRPr sz="1600"/>
            </a:lvl3pPr>
            <a:lvl4pPr marL="1828800" lvl="3" indent="-330200" rtl="0">
              <a:spcBef>
                <a:spcPts val="2100"/>
              </a:spcBef>
              <a:spcAft>
                <a:spcPts val="0"/>
              </a:spcAft>
              <a:buSzPts val="1600"/>
              <a:buChar char="●"/>
              <a:defRPr sz="1600"/>
            </a:lvl4pPr>
            <a:lvl5pPr marL="2286000" lvl="4" indent="-330200" rtl="0">
              <a:spcBef>
                <a:spcPts val="2100"/>
              </a:spcBef>
              <a:spcAft>
                <a:spcPts val="0"/>
              </a:spcAft>
              <a:buSzPts val="1600"/>
              <a:buChar char="○"/>
              <a:defRPr sz="1600"/>
            </a:lvl5pPr>
            <a:lvl6pPr marL="2743200" lvl="5" indent="-330200" rtl="0">
              <a:spcBef>
                <a:spcPts val="2100"/>
              </a:spcBef>
              <a:spcAft>
                <a:spcPts val="0"/>
              </a:spcAft>
              <a:buSzPts val="1600"/>
              <a:buChar char="■"/>
              <a:defRPr sz="1600"/>
            </a:lvl6pPr>
            <a:lvl7pPr marL="3200400" lvl="6" indent="-330200" rtl="0">
              <a:spcBef>
                <a:spcPts val="2100"/>
              </a:spcBef>
              <a:spcAft>
                <a:spcPts val="0"/>
              </a:spcAft>
              <a:buSzPts val="1600"/>
              <a:buChar char="●"/>
              <a:defRPr sz="1600"/>
            </a:lvl7pPr>
            <a:lvl8pPr marL="3657600" lvl="7" indent="-330200" rtl="0">
              <a:spcBef>
                <a:spcPts val="2100"/>
              </a:spcBef>
              <a:spcAft>
                <a:spcPts val="0"/>
              </a:spcAft>
              <a:buSzPts val="1600"/>
              <a:buChar char="○"/>
              <a:defRPr sz="1600"/>
            </a:lvl8pPr>
            <a:lvl9pPr marL="4114800" lvl="8" indent="-330200" rtl="0">
              <a:spcBef>
                <a:spcPts val="2100"/>
              </a:spcBef>
              <a:spcAft>
                <a:spcPts val="2100"/>
              </a:spcAft>
              <a:buSzPts val="1600"/>
              <a:buChar char="■"/>
              <a:defRPr sz="1600"/>
            </a:lvl9pPr>
          </a:lstStyle>
          <a:p>
            <a:endParaRPr/>
          </a:p>
        </p:txBody>
      </p:sp>
      <p:sp>
        <p:nvSpPr>
          <p:cNvPr id="409" name="Google Shape;409;p20"/>
          <p:cNvSpPr txBox="1">
            <a:spLocks noGrp="1"/>
          </p:cNvSpPr>
          <p:nvPr>
            <p:ph type="body" idx="13"/>
          </p:nvPr>
        </p:nvSpPr>
        <p:spPr>
          <a:xfrm>
            <a:off x="9854700" y="3238625"/>
            <a:ext cx="1997700" cy="2330100"/>
          </a:xfrm>
          <a:prstGeom prst="rect">
            <a:avLst/>
          </a:prstGeom>
        </p:spPr>
        <p:txBody>
          <a:bodyPr spcFirstLastPara="1" wrap="square" lIns="121900" tIns="121900" rIns="121900" bIns="121900" anchor="t" anchorCtr="0">
            <a:noAutofit/>
          </a:bodyPr>
          <a:lstStyle>
            <a:lvl1pPr marL="457200" lvl="0" indent="-330200" rtl="0">
              <a:spcBef>
                <a:spcPts val="0"/>
              </a:spcBef>
              <a:spcAft>
                <a:spcPts val="0"/>
              </a:spcAft>
              <a:buSzPts val="1600"/>
              <a:buChar char="●"/>
              <a:defRPr sz="1600"/>
            </a:lvl1pPr>
            <a:lvl2pPr marL="914400" lvl="1" indent="-330200" rtl="0">
              <a:spcBef>
                <a:spcPts val="2100"/>
              </a:spcBef>
              <a:spcAft>
                <a:spcPts val="0"/>
              </a:spcAft>
              <a:buSzPts val="1600"/>
              <a:buChar char="○"/>
              <a:defRPr sz="1600"/>
            </a:lvl2pPr>
            <a:lvl3pPr marL="1371600" lvl="2" indent="-330200" rtl="0">
              <a:spcBef>
                <a:spcPts val="2100"/>
              </a:spcBef>
              <a:spcAft>
                <a:spcPts val="0"/>
              </a:spcAft>
              <a:buSzPts val="1600"/>
              <a:buChar char="■"/>
              <a:defRPr sz="1600"/>
            </a:lvl3pPr>
            <a:lvl4pPr marL="1828800" lvl="3" indent="-330200" rtl="0">
              <a:spcBef>
                <a:spcPts val="2100"/>
              </a:spcBef>
              <a:spcAft>
                <a:spcPts val="0"/>
              </a:spcAft>
              <a:buSzPts val="1600"/>
              <a:buChar char="●"/>
              <a:defRPr sz="1600"/>
            </a:lvl4pPr>
            <a:lvl5pPr marL="2286000" lvl="4" indent="-330200" rtl="0">
              <a:spcBef>
                <a:spcPts val="2100"/>
              </a:spcBef>
              <a:spcAft>
                <a:spcPts val="0"/>
              </a:spcAft>
              <a:buSzPts val="1600"/>
              <a:buChar char="○"/>
              <a:defRPr sz="1600"/>
            </a:lvl5pPr>
            <a:lvl6pPr marL="2743200" lvl="5" indent="-330200" rtl="0">
              <a:spcBef>
                <a:spcPts val="2100"/>
              </a:spcBef>
              <a:spcAft>
                <a:spcPts val="0"/>
              </a:spcAft>
              <a:buSzPts val="1600"/>
              <a:buChar char="■"/>
              <a:defRPr sz="1600"/>
            </a:lvl6pPr>
            <a:lvl7pPr marL="3200400" lvl="6" indent="-330200" rtl="0">
              <a:spcBef>
                <a:spcPts val="2100"/>
              </a:spcBef>
              <a:spcAft>
                <a:spcPts val="0"/>
              </a:spcAft>
              <a:buSzPts val="1600"/>
              <a:buChar char="●"/>
              <a:defRPr sz="1600"/>
            </a:lvl7pPr>
            <a:lvl8pPr marL="3657600" lvl="7" indent="-330200" rtl="0">
              <a:spcBef>
                <a:spcPts val="2100"/>
              </a:spcBef>
              <a:spcAft>
                <a:spcPts val="0"/>
              </a:spcAft>
              <a:buSzPts val="1600"/>
              <a:buChar char="○"/>
              <a:defRPr sz="1600"/>
            </a:lvl8pPr>
            <a:lvl9pPr marL="4114800" lvl="8" indent="-330200" rtl="0">
              <a:spcBef>
                <a:spcPts val="2100"/>
              </a:spcBef>
              <a:spcAft>
                <a:spcPts val="2100"/>
              </a:spcAft>
              <a:buSzPts val="1600"/>
              <a:buChar char="■"/>
              <a:defRPr sz="1600"/>
            </a:lvl9pPr>
          </a:lstStyle>
          <a:p>
            <a:endParaRPr/>
          </a:p>
        </p:txBody>
      </p:sp>
    </p:spTree>
    <p:extLst>
      <p:ext uri="{BB962C8B-B14F-4D97-AF65-F5344CB8AC3E}">
        <p14:creationId xmlns:p14="http://schemas.microsoft.com/office/powerpoint/2010/main" val="24355664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016 Title and text left">
  <p:cSld name="016 Title and text left">
    <p:spTree>
      <p:nvGrpSpPr>
        <p:cNvPr id="1" name="Shape 410"/>
        <p:cNvGrpSpPr/>
        <p:nvPr/>
      </p:nvGrpSpPr>
      <p:grpSpPr>
        <a:xfrm>
          <a:off x="0" y="0"/>
          <a:ext cx="0" cy="0"/>
          <a:chOff x="0" y="0"/>
          <a:chExt cx="0" cy="0"/>
        </a:xfrm>
      </p:grpSpPr>
      <p:sp>
        <p:nvSpPr>
          <p:cNvPr id="411" name="Google Shape;411;p21"/>
          <p:cNvSpPr txBox="1">
            <a:spLocks noGrp="1"/>
          </p:cNvSpPr>
          <p:nvPr>
            <p:ph type="title"/>
          </p:nvPr>
        </p:nvSpPr>
        <p:spPr>
          <a:xfrm>
            <a:off x="644200" y="974375"/>
            <a:ext cx="5581500" cy="763500"/>
          </a:xfrm>
          <a:prstGeom prst="rect">
            <a:avLst/>
          </a:prstGeom>
        </p:spPr>
        <p:txBody>
          <a:bodyPr spcFirstLastPara="1" wrap="square" lIns="121900" tIns="121900" rIns="121900" bIns="121900" anchor="t" anchorCtr="0">
            <a:noAutofit/>
          </a:bodyPr>
          <a:lstStyle>
            <a:lvl1pPr marL="0" marR="0" lvl="0" indent="0" algn="r" rtl="0">
              <a:lnSpc>
                <a:spcPct val="100000"/>
              </a:lnSpc>
              <a:spcBef>
                <a:spcPts val="0"/>
              </a:spcBef>
              <a:spcAft>
                <a:spcPts val="0"/>
              </a:spcAft>
              <a:buClr>
                <a:schemeClr val="dk1"/>
              </a:buClr>
              <a:buSzPts val="4000"/>
              <a:buFont typeface="Aldrich"/>
              <a:buNone/>
              <a:defRPr/>
            </a:lvl1pPr>
            <a:lvl2pPr lvl="1"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algn="r"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412" name="Google Shape;412;p21"/>
          <p:cNvSpPr txBox="1">
            <a:spLocks noGrp="1"/>
          </p:cNvSpPr>
          <p:nvPr>
            <p:ph type="body" idx="1"/>
          </p:nvPr>
        </p:nvSpPr>
        <p:spPr>
          <a:xfrm>
            <a:off x="644050" y="2097700"/>
            <a:ext cx="5581500" cy="3565800"/>
          </a:xfrm>
          <a:prstGeom prst="rect">
            <a:avLst/>
          </a:prstGeom>
        </p:spPr>
        <p:txBody>
          <a:bodyPr spcFirstLastPara="1" wrap="square" lIns="121900" tIns="121900" rIns="121900" bIns="121900" anchor="t" anchorCtr="0">
            <a:noAutofit/>
          </a:bodyPr>
          <a:lstStyle>
            <a:lvl1pPr marL="457200" lvl="0" indent="-368300" algn="r">
              <a:spcBef>
                <a:spcPts val="0"/>
              </a:spcBef>
              <a:spcAft>
                <a:spcPts val="0"/>
              </a:spcAft>
              <a:buSzPts val="2200"/>
              <a:buChar char="●"/>
              <a:defRPr/>
            </a:lvl1pPr>
            <a:lvl2pPr marL="914400" lvl="1" indent="-368300" algn="r">
              <a:spcBef>
                <a:spcPts val="2100"/>
              </a:spcBef>
              <a:spcAft>
                <a:spcPts val="0"/>
              </a:spcAft>
              <a:buSzPts val="2200"/>
              <a:buChar char="○"/>
              <a:defRPr/>
            </a:lvl2pPr>
            <a:lvl3pPr marL="1371600" lvl="2" indent="-368300" algn="r">
              <a:spcBef>
                <a:spcPts val="2100"/>
              </a:spcBef>
              <a:spcAft>
                <a:spcPts val="0"/>
              </a:spcAft>
              <a:buSzPts val="2200"/>
              <a:buChar char="■"/>
              <a:defRPr/>
            </a:lvl3pPr>
            <a:lvl4pPr marL="1828800" lvl="3" indent="-368300" algn="r">
              <a:spcBef>
                <a:spcPts val="2100"/>
              </a:spcBef>
              <a:spcAft>
                <a:spcPts val="0"/>
              </a:spcAft>
              <a:buSzPts val="2200"/>
              <a:buChar char="●"/>
              <a:defRPr/>
            </a:lvl4pPr>
            <a:lvl5pPr marL="2286000" lvl="4" indent="-368300" algn="r">
              <a:spcBef>
                <a:spcPts val="2100"/>
              </a:spcBef>
              <a:spcAft>
                <a:spcPts val="0"/>
              </a:spcAft>
              <a:buSzPts val="2200"/>
              <a:buChar char="○"/>
              <a:defRPr/>
            </a:lvl5pPr>
            <a:lvl6pPr marL="2743200" lvl="5" indent="-368300" algn="r">
              <a:spcBef>
                <a:spcPts val="2100"/>
              </a:spcBef>
              <a:spcAft>
                <a:spcPts val="0"/>
              </a:spcAft>
              <a:buSzPts val="2200"/>
              <a:buChar char="■"/>
              <a:defRPr/>
            </a:lvl6pPr>
            <a:lvl7pPr marL="3200400" lvl="6" indent="-368300" algn="r">
              <a:spcBef>
                <a:spcPts val="2100"/>
              </a:spcBef>
              <a:spcAft>
                <a:spcPts val="0"/>
              </a:spcAft>
              <a:buSzPts val="2200"/>
              <a:buChar char="●"/>
              <a:defRPr/>
            </a:lvl7pPr>
            <a:lvl8pPr marL="3657600" lvl="7" indent="-368300" algn="r">
              <a:spcBef>
                <a:spcPts val="2100"/>
              </a:spcBef>
              <a:spcAft>
                <a:spcPts val="0"/>
              </a:spcAft>
              <a:buSzPts val="2200"/>
              <a:buChar char="○"/>
              <a:defRPr/>
            </a:lvl8pPr>
            <a:lvl9pPr marL="4114800" lvl="8" indent="-368300" algn="r">
              <a:spcBef>
                <a:spcPts val="2100"/>
              </a:spcBef>
              <a:spcAft>
                <a:spcPts val="2100"/>
              </a:spcAft>
              <a:buSzPts val="2200"/>
              <a:buChar char="■"/>
              <a:defRPr/>
            </a:lvl9pPr>
          </a:lstStyle>
          <a:p>
            <a:endParaRPr/>
          </a:p>
        </p:txBody>
      </p:sp>
    </p:spTree>
    <p:extLst>
      <p:ext uri="{BB962C8B-B14F-4D97-AF65-F5344CB8AC3E}">
        <p14:creationId xmlns:p14="http://schemas.microsoft.com/office/powerpoint/2010/main" val="98454923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017 Title and text right">
  <p:cSld name="017 Title and text right">
    <p:spTree>
      <p:nvGrpSpPr>
        <p:cNvPr id="1" name="Shape 413"/>
        <p:cNvGrpSpPr/>
        <p:nvPr/>
      </p:nvGrpSpPr>
      <p:grpSpPr>
        <a:xfrm>
          <a:off x="0" y="0"/>
          <a:ext cx="0" cy="0"/>
          <a:chOff x="0" y="0"/>
          <a:chExt cx="0" cy="0"/>
        </a:xfrm>
      </p:grpSpPr>
      <p:sp>
        <p:nvSpPr>
          <p:cNvPr id="414" name="Google Shape;414;p22"/>
          <p:cNvSpPr txBox="1">
            <a:spLocks noGrp="1"/>
          </p:cNvSpPr>
          <p:nvPr>
            <p:ph type="title"/>
          </p:nvPr>
        </p:nvSpPr>
        <p:spPr>
          <a:xfrm>
            <a:off x="5978200" y="974375"/>
            <a:ext cx="55815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4000"/>
              <a:buFont typeface="Aldrich"/>
              <a:buNone/>
              <a:defRPr/>
            </a:lvl1pPr>
            <a:lvl2pPr lvl="1"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4000"/>
              <a:buFont typeface="Abril Fatface"/>
              <a:buNone/>
              <a:defRPr sz="4000">
                <a:solidFill>
                  <a:schemeClr val="dk1"/>
                </a:solidFill>
                <a:latin typeface="Abril Fatface"/>
                <a:ea typeface="Abril Fatface"/>
                <a:cs typeface="Abril Fatface"/>
                <a:sym typeface="Abril Fatface"/>
              </a:defRPr>
            </a:lvl9pPr>
          </a:lstStyle>
          <a:p>
            <a:endParaRPr/>
          </a:p>
        </p:txBody>
      </p:sp>
      <p:sp>
        <p:nvSpPr>
          <p:cNvPr id="415" name="Google Shape;415;p22"/>
          <p:cNvSpPr txBox="1">
            <a:spLocks noGrp="1"/>
          </p:cNvSpPr>
          <p:nvPr>
            <p:ph type="body" idx="1"/>
          </p:nvPr>
        </p:nvSpPr>
        <p:spPr>
          <a:xfrm>
            <a:off x="5978300" y="2508425"/>
            <a:ext cx="5581500" cy="3106800"/>
          </a:xfrm>
          <a:prstGeom prst="rect">
            <a:avLst/>
          </a:prstGeom>
        </p:spPr>
        <p:txBody>
          <a:bodyPr spcFirstLastPara="1" wrap="square" lIns="121900" tIns="121900" rIns="121900" bIns="121900" anchor="t" anchorCtr="0">
            <a:noAutofit/>
          </a:bodyPr>
          <a:lstStyle>
            <a:lvl1pPr marL="457200" lvl="0" indent="-368300">
              <a:spcBef>
                <a:spcPts val="0"/>
              </a:spcBef>
              <a:spcAft>
                <a:spcPts val="0"/>
              </a:spcAft>
              <a:buSzPts val="2200"/>
              <a:buChar char="●"/>
              <a:defRPr/>
            </a:lvl1pPr>
            <a:lvl2pPr marL="914400" lvl="1" indent="-368300">
              <a:spcBef>
                <a:spcPts val="2100"/>
              </a:spcBef>
              <a:spcAft>
                <a:spcPts val="0"/>
              </a:spcAft>
              <a:buSzPts val="2200"/>
              <a:buChar char="○"/>
              <a:defRPr/>
            </a:lvl2pPr>
            <a:lvl3pPr marL="1371600" lvl="2" indent="-368300">
              <a:spcBef>
                <a:spcPts val="2100"/>
              </a:spcBef>
              <a:spcAft>
                <a:spcPts val="0"/>
              </a:spcAft>
              <a:buSzPts val="2200"/>
              <a:buChar char="■"/>
              <a:defRPr/>
            </a:lvl3pPr>
            <a:lvl4pPr marL="1828800" lvl="3" indent="-368300">
              <a:spcBef>
                <a:spcPts val="2100"/>
              </a:spcBef>
              <a:spcAft>
                <a:spcPts val="0"/>
              </a:spcAft>
              <a:buSzPts val="2200"/>
              <a:buChar char="●"/>
              <a:defRPr/>
            </a:lvl4pPr>
            <a:lvl5pPr marL="2286000" lvl="4" indent="-368300">
              <a:spcBef>
                <a:spcPts val="2100"/>
              </a:spcBef>
              <a:spcAft>
                <a:spcPts val="0"/>
              </a:spcAft>
              <a:buSzPts val="2200"/>
              <a:buChar char="○"/>
              <a:defRPr/>
            </a:lvl5pPr>
            <a:lvl6pPr marL="2743200" lvl="5" indent="-368300">
              <a:spcBef>
                <a:spcPts val="2100"/>
              </a:spcBef>
              <a:spcAft>
                <a:spcPts val="0"/>
              </a:spcAft>
              <a:buSzPts val="2200"/>
              <a:buChar char="■"/>
              <a:defRPr/>
            </a:lvl6pPr>
            <a:lvl7pPr marL="3200400" lvl="6" indent="-368300">
              <a:spcBef>
                <a:spcPts val="2100"/>
              </a:spcBef>
              <a:spcAft>
                <a:spcPts val="0"/>
              </a:spcAft>
              <a:buSzPts val="2200"/>
              <a:buChar char="●"/>
              <a:defRPr/>
            </a:lvl7pPr>
            <a:lvl8pPr marL="3657600" lvl="7" indent="-368300">
              <a:spcBef>
                <a:spcPts val="2100"/>
              </a:spcBef>
              <a:spcAft>
                <a:spcPts val="0"/>
              </a:spcAft>
              <a:buSzPts val="2200"/>
              <a:buChar char="○"/>
              <a:defRPr/>
            </a:lvl8pPr>
            <a:lvl9pPr marL="4114800" lvl="8" indent="-368300">
              <a:spcBef>
                <a:spcPts val="2100"/>
              </a:spcBef>
              <a:spcAft>
                <a:spcPts val="2100"/>
              </a:spcAft>
              <a:buSzPts val="2200"/>
              <a:buChar char="■"/>
              <a:defRPr/>
            </a:lvl9pPr>
          </a:lstStyle>
          <a:p>
            <a:endParaRPr/>
          </a:p>
        </p:txBody>
      </p:sp>
      <p:grpSp>
        <p:nvGrpSpPr>
          <p:cNvPr id="416" name="Google Shape;416;p22"/>
          <p:cNvGrpSpPr/>
          <p:nvPr/>
        </p:nvGrpSpPr>
        <p:grpSpPr>
          <a:xfrm>
            <a:off x="6476992" y="8"/>
            <a:ext cx="5574588" cy="6257258"/>
            <a:chOff x="6979425" y="523200"/>
            <a:chExt cx="4736268" cy="5316277"/>
          </a:xfrm>
        </p:grpSpPr>
        <p:sp>
          <p:nvSpPr>
            <p:cNvPr id="417" name="Google Shape;417;p22"/>
            <p:cNvSpPr/>
            <p:nvPr/>
          </p:nvSpPr>
          <p:spPr>
            <a:xfrm rot="4582876">
              <a:off x="8399085" y="326414"/>
              <a:ext cx="1866649" cy="407354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18" name="Google Shape;418;p22"/>
            <p:cNvSpPr/>
            <p:nvPr/>
          </p:nvSpPr>
          <p:spPr>
            <a:xfrm rot="-578308">
              <a:off x="6999027" y="2708978"/>
              <a:ext cx="4697064" cy="1324437"/>
            </a:xfrm>
            <a:custGeom>
              <a:avLst/>
              <a:gdLst/>
              <a:ahLst/>
              <a:cxnLst/>
              <a:rect l="l" t="t" r="r" b="b"/>
              <a:pathLst>
                <a:path w="81327" h="21434" extrusionOk="0">
                  <a:moveTo>
                    <a:pt x="21384" y="1495"/>
                  </a:moveTo>
                  <a:lnTo>
                    <a:pt x="21528" y="1543"/>
                  </a:lnTo>
                  <a:cubicBezTo>
                    <a:pt x="21512" y="1559"/>
                    <a:pt x="21480" y="1575"/>
                    <a:pt x="21448" y="1590"/>
                  </a:cubicBezTo>
                  <a:cubicBezTo>
                    <a:pt x="21416" y="1575"/>
                    <a:pt x="21369" y="1559"/>
                    <a:pt x="21306" y="1543"/>
                  </a:cubicBezTo>
                  <a:cubicBezTo>
                    <a:pt x="21337" y="1527"/>
                    <a:pt x="21369" y="1495"/>
                    <a:pt x="21384" y="1495"/>
                  </a:cubicBezTo>
                  <a:close/>
                  <a:moveTo>
                    <a:pt x="40131" y="1352"/>
                  </a:moveTo>
                  <a:cubicBezTo>
                    <a:pt x="40146" y="1352"/>
                    <a:pt x="40210" y="1384"/>
                    <a:pt x="40210" y="1400"/>
                  </a:cubicBezTo>
                  <a:lnTo>
                    <a:pt x="40163" y="1590"/>
                  </a:lnTo>
                  <a:cubicBezTo>
                    <a:pt x="40114" y="1590"/>
                    <a:pt x="40067" y="1590"/>
                    <a:pt x="40035" y="1607"/>
                  </a:cubicBezTo>
                  <a:cubicBezTo>
                    <a:pt x="40019" y="1543"/>
                    <a:pt x="39987" y="1480"/>
                    <a:pt x="39987" y="1416"/>
                  </a:cubicBezTo>
                  <a:cubicBezTo>
                    <a:pt x="39987" y="1384"/>
                    <a:pt x="40082" y="1368"/>
                    <a:pt x="40131" y="1352"/>
                  </a:cubicBezTo>
                  <a:close/>
                  <a:moveTo>
                    <a:pt x="34995" y="1336"/>
                  </a:moveTo>
                  <a:cubicBezTo>
                    <a:pt x="35058" y="1384"/>
                    <a:pt x="35106" y="1416"/>
                    <a:pt x="35202" y="1480"/>
                  </a:cubicBezTo>
                  <a:lnTo>
                    <a:pt x="36330" y="1480"/>
                  </a:lnTo>
                  <a:cubicBezTo>
                    <a:pt x="36361" y="1521"/>
                    <a:pt x="36386" y="1549"/>
                    <a:pt x="36403" y="1576"/>
                  </a:cubicBezTo>
                  <a:lnTo>
                    <a:pt x="36403" y="1576"/>
                  </a:lnTo>
                  <a:cubicBezTo>
                    <a:pt x="35848" y="1622"/>
                    <a:pt x="35262" y="1622"/>
                    <a:pt x="34439" y="1622"/>
                  </a:cubicBezTo>
                  <a:cubicBezTo>
                    <a:pt x="34740" y="1463"/>
                    <a:pt x="34867" y="1400"/>
                    <a:pt x="34995" y="1336"/>
                  </a:cubicBezTo>
                  <a:close/>
                  <a:moveTo>
                    <a:pt x="26790" y="1639"/>
                  </a:moveTo>
                  <a:cubicBezTo>
                    <a:pt x="26822" y="1639"/>
                    <a:pt x="26839" y="1670"/>
                    <a:pt x="26870" y="1686"/>
                  </a:cubicBezTo>
                  <a:cubicBezTo>
                    <a:pt x="26822" y="1702"/>
                    <a:pt x="26775" y="1734"/>
                    <a:pt x="26727" y="1734"/>
                  </a:cubicBezTo>
                  <a:cubicBezTo>
                    <a:pt x="26695" y="1734"/>
                    <a:pt x="26680" y="1702"/>
                    <a:pt x="26648" y="1686"/>
                  </a:cubicBezTo>
                  <a:lnTo>
                    <a:pt x="26790" y="1639"/>
                  </a:lnTo>
                  <a:close/>
                  <a:moveTo>
                    <a:pt x="42149" y="1352"/>
                  </a:moveTo>
                  <a:cubicBezTo>
                    <a:pt x="42181" y="1416"/>
                    <a:pt x="42198" y="1480"/>
                    <a:pt x="42230" y="1527"/>
                  </a:cubicBezTo>
                  <a:cubicBezTo>
                    <a:pt x="42086" y="1607"/>
                    <a:pt x="42007" y="1718"/>
                    <a:pt x="41831" y="1734"/>
                  </a:cubicBezTo>
                  <a:cubicBezTo>
                    <a:pt x="41672" y="1639"/>
                    <a:pt x="41831" y="1511"/>
                    <a:pt x="41689" y="1352"/>
                  </a:cubicBezTo>
                  <a:close/>
                  <a:moveTo>
                    <a:pt x="36428" y="1623"/>
                  </a:moveTo>
                  <a:cubicBezTo>
                    <a:pt x="36507" y="1639"/>
                    <a:pt x="36570" y="1671"/>
                    <a:pt x="36633" y="1702"/>
                  </a:cubicBezTo>
                  <a:cubicBezTo>
                    <a:pt x="36582" y="1728"/>
                    <a:pt x="36546" y="1738"/>
                    <a:pt x="36519" y="1738"/>
                  </a:cubicBezTo>
                  <a:cubicBezTo>
                    <a:pt x="36460" y="1738"/>
                    <a:pt x="36448" y="1685"/>
                    <a:pt x="36428" y="1623"/>
                  </a:cubicBezTo>
                  <a:close/>
                  <a:moveTo>
                    <a:pt x="60514" y="1639"/>
                  </a:moveTo>
                  <a:lnTo>
                    <a:pt x="60657" y="1686"/>
                  </a:lnTo>
                  <a:cubicBezTo>
                    <a:pt x="60641" y="1702"/>
                    <a:pt x="60610" y="1718"/>
                    <a:pt x="60578" y="1749"/>
                  </a:cubicBezTo>
                  <a:cubicBezTo>
                    <a:pt x="60529" y="1718"/>
                    <a:pt x="60482" y="1702"/>
                    <a:pt x="60434" y="1686"/>
                  </a:cubicBezTo>
                  <a:cubicBezTo>
                    <a:pt x="60466" y="1670"/>
                    <a:pt x="60498" y="1639"/>
                    <a:pt x="60514" y="1639"/>
                  </a:cubicBezTo>
                  <a:close/>
                  <a:moveTo>
                    <a:pt x="38333" y="1352"/>
                  </a:moveTo>
                  <a:cubicBezTo>
                    <a:pt x="38397" y="1543"/>
                    <a:pt x="38414" y="1622"/>
                    <a:pt x="38429" y="1686"/>
                  </a:cubicBezTo>
                  <a:cubicBezTo>
                    <a:pt x="38341" y="1738"/>
                    <a:pt x="38268" y="1762"/>
                    <a:pt x="38197" y="1762"/>
                  </a:cubicBezTo>
                  <a:cubicBezTo>
                    <a:pt x="38138" y="1762"/>
                    <a:pt x="38080" y="1746"/>
                    <a:pt x="38015" y="1718"/>
                  </a:cubicBezTo>
                  <a:cubicBezTo>
                    <a:pt x="38032" y="1590"/>
                    <a:pt x="38255" y="1575"/>
                    <a:pt x="38333" y="1352"/>
                  </a:cubicBezTo>
                  <a:close/>
                  <a:moveTo>
                    <a:pt x="33806" y="1329"/>
                  </a:moveTo>
                  <a:cubicBezTo>
                    <a:pt x="33829" y="1329"/>
                    <a:pt x="33845" y="1331"/>
                    <a:pt x="33850" y="1336"/>
                  </a:cubicBezTo>
                  <a:cubicBezTo>
                    <a:pt x="33977" y="1463"/>
                    <a:pt x="34072" y="1590"/>
                    <a:pt x="34168" y="1718"/>
                  </a:cubicBezTo>
                  <a:cubicBezTo>
                    <a:pt x="34136" y="1734"/>
                    <a:pt x="34121" y="1766"/>
                    <a:pt x="34089" y="1766"/>
                  </a:cubicBezTo>
                  <a:lnTo>
                    <a:pt x="33118" y="1766"/>
                  </a:lnTo>
                  <a:cubicBezTo>
                    <a:pt x="33055" y="1766"/>
                    <a:pt x="32991" y="1734"/>
                    <a:pt x="32912" y="1718"/>
                  </a:cubicBezTo>
                  <a:cubicBezTo>
                    <a:pt x="32905" y="1642"/>
                    <a:pt x="32947" y="1624"/>
                    <a:pt x="33004" y="1624"/>
                  </a:cubicBezTo>
                  <a:cubicBezTo>
                    <a:pt x="33057" y="1624"/>
                    <a:pt x="33124" y="1640"/>
                    <a:pt x="33174" y="1640"/>
                  </a:cubicBezTo>
                  <a:cubicBezTo>
                    <a:pt x="33183" y="1640"/>
                    <a:pt x="33191" y="1640"/>
                    <a:pt x="33199" y="1639"/>
                  </a:cubicBezTo>
                  <a:cubicBezTo>
                    <a:pt x="33341" y="1527"/>
                    <a:pt x="33485" y="1416"/>
                    <a:pt x="33612" y="1336"/>
                  </a:cubicBezTo>
                  <a:cubicBezTo>
                    <a:pt x="33686" y="1336"/>
                    <a:pt x="33760" y="1329"/>
                    <a:pt x="33806" y="1329"/>
                  </a:cubicBezTo>
                  <a:close/>
                  <a:moveTo>
                    <a:pt x="59878" y="1622"/>
                  </a:moveTo>
                  <a:cubicBezTo>
                    <a:pt x="59910" y="1654"/>
                    <a:pt x="59925" y="1686"/>
                    <a:pt x="59957" y="1718"/>
                  </a:cubicBezTo>
                  <a:cubicBezTo>
                    <a:pt x="59925" y="1734"/>
                    <a:pt x="59910" y="1749"/>
                    <a:pt x="59878" y="1766"/>
                  </a:cubicBezTo>
                  <a:cubicBezTo>
                    <a:pt x="59862" y="1734"/>
                    <a:pt x="59815" y="1702"/>
                    <a:pt x="59815" y="1670"/>
                  </a:cubicBezTo>
                  <a:cubicBezTo>
                    <a:pt x="59815" y="1654"/>
                    <a:pt x="59862" y="1639"/>
                    <a:pt x="59878" y="1622"/>
                  </a:cubicBezTo>
                  <a:close/>
                  <a:moveTo>
                    <a:pt x="63885" y="1480"/>
                  </a:moveTo>
                  <a:cubicBezTo>
                    <a:pt x="64044" y="1575"/>
                    <a:pt x="64044" y="1670"/>
                    <a:pt x="63885" y="1766"/>
                  </a:cubicBezTo>
                  <a:cubicBezTo>
                    <a:pt x="63726" y="1670"/>
                    <a:pt x="63726" y="1575"/>
                    <a:pt x="63885" y="1480"/>
                  </a:cubicBezTo>
                  <a:close/>
                  <a:moveTo>
                    <a:pt x="40735" y="1781"/>
                  </a:moveTo>
                  <a:lnTo>
                    <a:pt x="40877" y="1829"/>
                  </a:lnTo>
                  <a:cubicBezTo>
                    <a:pt x="40846" y="1845"/>
                    <a:pt x="40814" y="1877"/>
                    <a:pt x="40799" y="1877"/>
                  </a:cubicBezTo>
                  <a:cubicBezTo>
                    <a:pt x="40750" y="1877"/>
                    <a:pt x="40703" y="1845"/>
                    <a:pt x="40655" y="1829"/>
                  </a:cubicBezTo>
                  <a:cubicBezTo>
                    <a:pt x="40671" y="1813"/>
                    <a:pt x="40703" y="1798"/>
                    <a:pt x="40735" y="1781"/>
                  </a:cubicBezTo>
                  <a:close/>
                  <a:moveTo>
                    <a:pt x="21006" y="1634"/>
                  </a:moveTo>
                  <a:cubicBezTo>
                    <a:pt x="21079" y="1634"/>
                    <a:pt x="21079" y="1716"/>
                    <a:pt x="21115" y="1798"/>
                  </a:cubicBezTo>
                  <a:cubicBezTo>
                    <a:pt x="21127" y="1795"/>
                    <a:pt x="21138" y="1793"/>
                    <a:pt x="21149" y="1793"/>
                  </a:cubicBezTo>
                  <a:cubicBezTo>
                    <a:pt x="21197" y="1793"/>
                    <a:pt x="21237" y="1819"/>
                    <a:pt x="21289" y="1845"/>
                  </a:cubicBezTo>
                  <a:cubicBezTo>
                    <a:pt x="21238" y="1870"/>
                    <a:pt x="21202" y="1881"/>
                    <a:pt x="21175" y="1881"/>
                  </a:cubicBezTo>
                  <a:cubicBezTo>
                    <a:pt x="21102" y="1881"/>
                    <a:pt x="21102" y="1800"/>
                    <a:pt x="21066" y="1718"/>
                  </a:cubicBezTo>
                  <a:cubicBezTo>
                    <a:pt x="21049" y="1726"/>
                    <a:pt x="21032" y="1730"/>
                    <a:pt x="21016" y="1730"/>
                  </a:cubicBezTo>
                  <a:cubicBezTo>
                    <a:pt x="20975" y="1730"/>
                    <a:pt x="20938" y="1704"/>
                    <a:pt x="20892" y="1670"/>
                  </a:cubicBezTo>
                  <a:cubicBezTo>
                    <a:pt x="20943" y="1645"/>
                    <a:pt x="20979" y="1634"/>
                    <a:pt x="21006" y="1634"/>
                  </a:cubicBezTo>
                  <a:close/>
                  <a:moveTo>
                    <a:pt x="42548" y="1622"/>
                  </a:moveTo>
                  <a:cubicBezTo>
                    <a:pt x="42707" y="1718"/>
                    <a:pt x="42707" y="1813"/>
                    <a:pt x="42548" y="1908"/>
                  </a:cubicBezTo>
                  <a:cubicBezTo>
                    <a:pt x="42389" y="1813"/>
                    <a:pt x="42389" y="1718"/>
                    <a:pt x="42548" y="1622"/>
                  </a:cubicBezTo>
                  <a:close/>
                  <a:moveTo>
                    <a:pt x="18762" y="1908"/>
                  </a:moveTo>
                  <a:cubicBezTo>
                    <a:pt x="18777" y="1940"/>
                    <a:pt x="18809" y="1972"/>
                    <a:pt x="18825" y="2004"/>
                  </a:cubicBezTo>
                  <a:cubicBezTo>
                    <a:pt x="18825" y="2020"/>
                    <a:pt x="18777" y="2036"/>
                    <a:pt x="18762" y="2052"/>
                  </a:cubicBezTo>
                  <a:cubicBezTo>
                    <a:pt x="18730" y="2020"/>
                    <a:pt x="18698" y="1988"/>
                    <a:pt x="18681" y="1957"/>
                  </a:cubicBezTo>
                  <a:cubicBezTo>
                    <a:pt x="18681" y="1940"/>
                    <a:pt x="18730" y="1925"/>
                    <a:pt x="18762" y="1908"/>
                  </a:cubicBezTo>
                  <a:close/>
                  <a:moveTo>
                    <a:pt x="22822" y="1758"/>
                  </a:moveTo>
                  <a:cubicBezTo>
                    <a:pt x="22963" y="1758"/>
                    <a:pt x="23110" y="1774"/>
                    <a:pt x="23261" y="1781"/>
                  </a:cubicBezTo>
                  <a:cubicBezTo>
                    <a:pt x="23292" y="1845"/>
                    <a:pt x="23309" y="1908"/>
                    <a:pt x="23341" y="1988"/>
                  </a:cubicBezTo>
                  <a:cubicBezTo>
                    <a:pt x="23175" y="2038"/>
                    <a:pt x="23013" y="2062"/>
                    <a:pt x="22853" y="2062"/>
                  </a:cubicBezTo>
                  <a:cubicBezTo>
                    <a:pt x="22707" y="2062"/>
                    <a:pt x="22563" y="2042"/>
                    <a:pt x="22419" y="2004"/>
                  </a:cubicBezTo>
                  <a:lnTo>
                    <a:pt x="22419" y="1829"/>
                  </a:lnTo>
                  <a:cubicBezTo>
                    <a:pt x="22546" y="1774"/>
                    <a:pt x="22681" y="1758"/>
                    <a:pt x="22822" y="1758"/>
                  </a:cubicBezTo>
                  <a:close/>
                  <a:moveTo>
                    <a:pt x="15026" y="2079"/>
                  </a:moveTo>
                  <a:cubicBezTo>
                    <a:pt x="15048" y="2079"/>
                    <a:pt x="15063" y="2102"/>
                    <a:pt x="15088" y="2116"/>
                  </a:cubicBezTo>
                  <a:cubicBezTo>
                    <a:pt x="15041" y="2131"/>
                    <a:pt x="14993" y="2163"/>
                    <a:pt x="14946" y="2163"/>
                  </a:cubicBezTo>
                  <a:cubicBezTo>
                    <a:pt x="14914" y="2163"/>
                    <a:pt x="14897" y="2131"/>
                    <a:pt x="14866" y="2116"/>
                  </a:cubicBezTo>
                  <a:cubicBezTo>
                    <a:pt x="14914" y="2099"/>
                    <a:pt x="14961" y="2084"/>
                    <a:pt x="15009" y="2084"/>
                  </a:cubicBezTo>
                  <a:cubicBezTo>
                    <a:pt x="15016" y="2081"/>
                    <a:pt x="15021" y="2079"/>
                    <a:pt x="15026" y="2079"/>
                  </a:cubicBezTo>
                  <a:close/>
                  <a:moveTo>
                    <a:pt x="20542" y="1908"/>
                  </a:moveTo>
                  <a:cubicBezTo>
                    <a:pt x="20701" y="2004"/>
                    <a:pt x="20701" y="2099"/>
                    <a:pt x="20542" y="2195"/>
                  </a:cubicBezTo>
                  <a:cubicBezTo>
                    <a:pt x="20383" y="2099"/>
                    <a:pt x="20383" y="2004"/>
                    <a:pt x="20542" y="1908"/>
                  </a:cubicBezTo>
                  <a:close/>
                  <a:moveTo>
                    <a:pt x="45425" y="2195"/>
                  </a:moveTo>
                  <a:cubicBezTo>
                    <a:pt x="45457" y="2226"/>
                    <a:pt x="45488" y="2258"/>
                    <a:pt x="45505" y="2290"/>
                  </a:cubicBezTo>
                  <a:cubicBezTo>
                    <a:pt x="45473" y="2306"/>
                    <a:pt x="45457" y="2322"/>
                    <a:pt x="45425" y="2338"/>
                  </a:cubicBezTo>
                  <a:cubicBezTo>
                    <a:pt x="45409" y="2306"/>
                    <a:pt x="45378" y="2275"/>
                    <a:pt x="45361" y="2243"/>
                  </a:cubicBezTo>
                  <a:cubicBezTo>
                    <a:pt x="45361" y="2226"/>
                    <a:pt x="45409" y="2211"/>
                    <a:pt x="45425" y="2195"/>
                  </a:cubicBezTo>
                  <a:close/>
                  <a:moveTo>
                    <a:pt x="68765" y="2195"/>
                  </a:moveTo>
                  <a:cubicBezTo>
                    <a:pt x="68797" y="2226"/>
                    <a:pt x="68829" y="2258"/>
                    <a:pt x="68846" y="2290"/>
                  </a:cubicBezTo>
                  <a:cubicBezTo>
                    <a:pt x="68814" y="2306"/>
                    <a:pt x="68797" y="2322"/>
                    <a:pt x="68765" y="2338"/>
                  </a:cubicBezTo>
                  <a:cubicBezTo>
                    <a:pt x="68750" y="2306"/>
                    <a:pt x="68718" y="2275"/>
                    <a:pt x="68702" y="2243"/>
                  </a:cubicBezTo>
                  <a:cubicBezTo>
                    <a:pt x="68702" y="2226"/>
                    <a:pt x="68750" y="2211"/>
                    <a:pt x="68765" y="2195"/>
                  </a:cubicBezTo>
                  <a:close/>
                  <a:moveTo>
                    <a:pt x="36209" y="2330"/>
                  </a:moveTo>
                  <a:cubicBezTo>
                    <a:pt x="36283" y="2330"/>
                    <a:pt x="36354" y="2354"/>
                    <a:pt x="36426" y="2402"/>
                  </a:cubicBezTo>
                  <a:cubicBezTo>
                    <a:pt x="36354" y="2457"/>
                    <a:pt x="36283" y="2485"/>
                    <a:pt x="36209" y="2485"/>
                  </a:cubicBezTo>
                  <a:cubicBezTo>
                    <a:pt x="36136" y="2485"/>
                    <a:pt x="36060" y="2457"/>
                    <a:pt x="35980" y="2402"/>
                  </a:cubicBezTo>
                  <a:cubicBezTo>
                    <a:pt x="36060" y="2354"/>
                    <a:pt x="36136" y="2330"/>
                    <a:pt x="36209" y="2330"/>
                  </a:cubicBezTo>
                  <a:close/>
                  <a:moveTo>
                    <a:pt x="14134" y="2370"/>
                  </a:moveTo>
                  <a:cubicBezTo>
                    <a:pt x="14166" y="2385"/>
                    <a:pt x="14230" y="2434"/>
                    <a:pt x="14278" y="2465"/>
                  </a:cubicBezTo>
                  <a:cubicBezTo>
                    <a:pt x="14507" y="2444"/>
                    <a:pt x="14636" y="2432"/>
                    <a:pt x="14714" y="2432"/>
                  </a:cubicBezTo>
                  <a:cubicBezTo>
                    <a:pt x="14814" y="2432"/>
                    <a:pt x="14830" y="2452"/>
                    <a:pt x="14866" y="2497"/>
                  </a:cubicBezTo>
                  <a:cubicBezTo>
                    <a:pt x="14834" y="2624"/>
                    <a:pt x="14643" y="2672"/>
                    <a:pt x="14532" y="2767"/>
                  </a:cubicBezTo>
                  <a:lnTo>
                    <a:pt x="13657" y="2767"/>
                  </a:lnTo>
                  <a:cubicBezTo>
                    <a:pt x="13625" y="2767"/>
                    <a:pt x="13594" y="2735"/>
                    <a:pt x="13610" y="2735"/>
                  </a:cubicBezTo>
                  <a:cubicBezTo>
                    <a:pt x="13784" y="2624"/>
                    <a:pt x="13960" y="2497"/>
                    <a:pt x="14134" y="2370"/>
                  </a:cubicBezTo>
                  <a:close/>
                  <a:moveTo>
                    <a:pt x="15473" y="1897"/>
                  </a:moveTo>
                  <a:cubicBezTo>
                    <a:pt x="15543" y="1897"/>
                    <a:pt x="15644" y="1936"/>
                    <a:pt x="15820" y="2020"/>
                  </a:cubicBezTo>
                  <a:cubicBezTo>
                    <a:pt x="15891" y="2047"/>
                    <a:pt x="15969" y="2054"/>
                    <a:pt x="16050" y="2054"/>
                  </a:cubicBezTo>
                  <a:cubicBezTo>
                    <a:pt x="16131" y="2054"/>
                    <a:pt x="16214" y="2047"/>
                    <a:pt x="16297" y="2047"/>
                  </a:cubicBezTo>
                  <a:cubicBezTo>
                    <a:pt x="16428" y="2047"/>
                    <a:pt x="16560" y="2064"/>
                    <a:pt x="16678" y="2147"/>
                  </a:cubicBezTo>
                  <a:cubicBezTo>
                    <a:pt x="16456" y="2226"/>
                    <a:pt x="16265" y="2306"/>
                    <a:pt x="16010" y="2417"/>
                  </a:cubicBezTo>
                  <a:cubicBezTo>
                    <a:pt x="15995" y="2497"/>
                    <a:pt x="15947" y="2640"/>
                    <a:pt x="15915" y="2783"/>
                  </a:cubicBezTo>
                  <a:cubicBezTo>
                    <a:pt x="15597" y="2624"/>
                    <a:pt x="15851" y="2402"/>
                    <a:pt x="15709" y="2243"/>
                  </a:cubicBezTo>
                  <a:cubicBezTo>
                    <a:pt x="15597" y="2163"/>
                    <a:pt x="15470" y="2084"/>
                    <a:pt x="15327" y="1988"/>
                  </a:cubicBezTo>
                  <a:cubicBezTo>
                    <a:pt x="15372" y="1928"/>
                    <a:pt x="15410" y="1897"/>
                    <a:pt x="15473" y="1897"/>
                  </a:cubicBezTo>
                  <a:close/>
                  <a:moveTo>
                    <a:pt x="10827" y="2911"/>
                  </a:moveTo>
                  <a:cubicBezTo>
                    <a:pt x="10844" y="3006"/>
                    <a:pt x="10859" y="3085"/>
                    <a:pt x="10859" y="3180"/>
                  </a:cubicBezTo>
                  <a:cubicBezTo>
                    <a:pt x="10685" y="3197"/>
                    <a:pt x="10557" y="3197"/>
                    <a:pt x="10414" y="3212"/>
                  </a:cubicBezTo>
                  <a:cubicBezTo>
                    <a:pt x="10398" y="3244"/>
                    <a:pt x="10335" y="3292"/>
                    <a:pt x="10286" y="3324"/>
                  </a:cubicBezTo>
                  <a:cubicBezTo>
                    <a:pt x="10144" y="3212"/>
                    <a:pt x="10303" y="3212"/>
                    <a:pt x="10477" y="3180"/>
                  </a:cubicBezTo>
                  <a:cubicBezTo>
                    <a:pt x="10462" y="3053"/>
                    <a:pt x="10604" y="2990"/>
                    <a:pt x="10827" y="2911"/>
                  </a:cubicBezTo>
                  <a:close/>
                  <a:moveTo>
                    <a:pt x="16408" y="3038"/>
                  </a:moveTo>
                  <a:lnTo>
                    <a:pt x="16408" y="3308"/>
                  </a:lnTo>
                  <a:cubicBezTo>
                    <a:pt x="16297" y="3324"/>
                    <a:pt x="16186" y="3339"/>
                    <a:pt x="16042" y="3356"/>
                  </a:cubicBezTo>
                  <a:cubicBezTo>
                    <a:pt x="16010" y="3276"/>
                    <a:pt x="15995" y="3197"/>
                    <a:pt x="15963" y="3085"/>
                  </a:cubicBezTo>
                  <a:cubicBezTo>
                    <a:pt x="16106" y="3070"/>
                    <a:pt x="16201" y="3053"/>
                    <a:pt x="16408" y="3038"/>
                  </a:cubicBezTo>
                  <a:close/>
                  <a:moveTo>
                    <a:pt x="7456" y="3657"/>
                  </a:moveTo>
                  <a:cubicBezTo>
                    <a:pt x="7473" y="3657"/>
                    <a:pt x="7505" y="3689"/>
                    <a:pt x="7536" y="3706"/>
                  </a:cubicBezTo>
                  <a:cubicBezTo>
                    <a:pt x="7488" y="3721"/>
                    <a:pt x="7441" y="3737"/>
                    <a:pt x="7377" y="3753"/>
                  </a:cubicBezTo>
                  <a:cubicBezTo>
                    <a:pt x="7361" y="3753"/>
                    <a:pt x="7329" y="3721"/>
                    <a:pt x="7314" y="3706"/>
                  </a:cubicBezTo>
                  <a:cubicBezTo>
                    <a:pt x="7361" y="3689"/>
                    <a:pt x="7409" y="3657"/>
                    <a:pt x="7456" y="3657"/>
                  </a:cubicBezTo>
                  <a:close/>
                  <a:moveTo>
                    <a:pt x="11193" y="3197"/>
                  </a:moveTo>
                  <a:cubicBezTo>
                    <a:pt x="11399" y="3324"/>
                    <a:pt x="11240" y="3451"/>
                    <a:pt x="11304" y="3515"/>
                  </a:cubicBezTo>
                  <a:cubicBezTo>
                    <a:pt x="11177" y="3674"/>
                    <a:pt x="11081" y="3785"/>
                    <a:pt x="10971" y="3928"/>
                  </a:cubicBezTo>
                  <a:lnTo>
                    <a:pt x="10494" y="3547"/>
                  </a:lnTo>
                  <a:cubicBezTo>
                    <a:pt x="10573" y="3515"/>
                    <a:pt x="10716" y="3483"/>
                    <a:pt x="10844" y="3419"/>
                  </a:cubicBezTo>
                  <a:cubicBezTo>
                    <a:pt x="10971" y="3356"/>
                    <a:pt x="11081" y="3276"/>
                    <a:pt x="11193" y="3197"/>
                  </a:cubicBezTo>
                  <a:close/>
                  <a:moveTo>
                    <a:pt x="28126" y="3801"/>
                  </a:moveTo>
                  <a:cubicBezTo>
                    <a:pt x="28142" y="3801"/>
                    <a:pt x="28206" y="3833"/>
                    <a:pt x="28206" y="3848"/>
                  </a:cubicBezTo>
                  <a:lnTo>
                    <a:pt x="28158" y="4039"/>
                  </a:lnTo>
                  <a:lnTo>
                    <a:pt x="28031" y="4039"/>
                  </a:lnTo>
                  <a:cubicBezTo>
                    <a:pt x="28015" y="3975"/>
                    <a:pt x="27983" y="3912"/>
                    <a:pt x="27983" y="3848"/>
                  </a:cubicBezTo>
                  <a:cubicBezTo>
                    <a:pt x="27983" y="3833"/>
                    <a:pt x="28079" y="3816"/>
                    <a:pt x="28126" y="3801"/>
                  </a:cubicBezTo>
                  <a:close/>
                  <a:moveTo>
                    <a:pt x="24873" y="3908"/>
                  </a:moveTo>
                  <a:cubicBezTo>
                    <a:pt x="24946" y="3908"/>
                    <a:pt x="25018" y="3936"/>
                    <a:pt x="25090" y="3992"/>
                  </a:cubicBezTo>
                  <a:cubicBezTo>
                    <a:pt x="25018" y="4040"/>
                    <a:pt x="24946" y="4063"/>
                    <a:pt x="24873" y="4063"/>
                  </a:cubicBezTo>
                  <a:cubicBezTo>
                    <a:pt x="24799" y="4063"/>
                    <a:pt x="24724" y="4040"/>
                    <a:pt x="24645" y="3992"/>
                  </a:cubicBezTo>
                  <a:cubicBezTo>
                    <a:pt x="24724" y="3936"/>
                    <a:pt x="24799" y="3908"/>
                    <a:pt x="24873" y="3908"/>
                  </a:cubicBezTo>
                  <a:close/>
                  <a:moveTo>
                    <a:pt x="24787" y="4230"/>
                  </a:moveTo>
                  <a:cubicBezTo>
                    <a:pt x="24819" y="4246"/>
                    <a:pt x="24851" y="4261"/>
                    <a:pt x="24867" y="4278"/>
                  </a:cubicBezTo>
                  <a:lnTo>
                    <a:pt x="24723" y="4325"/>
                  </a:lnTo>
                  <a:cubicBezTo>
                    <a:pt x="24708" y="4325"/>
                    <a:pt x="24676" y="4293"/>
                    <a:pt x="24645" y="4278"/>
                  </a:cubicBezTo>
                  <a:lnTo>
                    <a:pt x="24787" y="4230"/>
                  </a:lnTo>
                  <a:close/>
                  <a:moveTo>
                    <a:pt x="20526" y="4357"/>
                  </a:moveTo>
                  <a:cubicBezTo>
                    <a:pt x="20558" y="4357"/>
                    <a:pt x="20589" y="4405"/>
                    <a:pt x="20606" y="4437"/>
                  </a:cubicBezTo>
                  <a:cubicBezTo>
                    <a:pt x="20606" y="4452"/>
                    <a:pt x="20558" y="4484"/>
                    <a:pt x="20542" y="4484"/>
                  </a:cubicBezTo>
                  <a:cubicBezTo>
                    <a:pt x="20430" y="4484"/>
                    <a:pt x="20335" y="4469"/>
                    <a:pt x="20240" y="4469"/>
                  </a:cubicBezTo>
                  <a:lnTo>
                    <a:pt x="20240" y="4373"/>
                  </a:lnTo>
                  <a:cubicBezTo>
                    <a:pt x="20335" y="4373"/>
                    <a:pt x="20430" y="4357"/>
                    <a:pt x="20526" y="4357"/>
                  </a:cubicBezTo>
                  <a:close/>
                  <a:moveTo>
                    <a:pt x="9858" y="4055"/>
                  </a:moveTo>
                  <a:lnTo>
                    <a:pt x="9858" y="4055"/>
                  </a:lnTo>
                  <a:cubicBezTo>
                    <a:pt x="10208" y="4293"/>
                    <a:pt x="9731" y="4357"/>
                    <a:pt x="9682" y="4501"/>
                  </a:cubicBezTo>
                  <a:cubicBezTo>
                    <a:pt x="9476" y="4484"/>
                    <a:pt x="9285" y="4516"/>
                    <a:pt x="9110" y="4452"/>
                  </a:cubicBezTo>
                  <a:cubicBezTo>
                    <a:pt x="9126" y="4452"/>
                    <a:pt x="9491" y="4310"/>
                    <a:pt x="9491" y="4293"/>
                  </a:cubicBezTo>
                  <a:lnTo>
                    <a:pt x="9349" y="4102"/>
                  </a:lnTo>
                  <a:cubicBezTo>
                    <a:pt x="9418" y="4068"/>
                    <a:pt x="9493" y="4061"/>
                    <a:pt x="9569" y="4061"/>
                  </a:cubicBezTo>
                  <a:cubicBezTo>
                    <a:pt x="9626" y="4061"/>
                    <a:pt x="9684" y="4065"/>
                    <a:pt x="9741" y="4065"/>
                  </a:cubicBezTo>
                  <a:cubicBezTo>
                    <a:pt x="9781" y="4065"/>
                    <a:pt x="9820" y="4063"/>
                    <a:pt x="9858" y="4055"/>
                  </a:cubicBezTo>
                  <a:close/>
                  <a:moveTo>
                    <a:pt x="6535" y="4250"/>
                  </a:moveTo>
                  <a:cubicBezTo>
                    <a:pt x="6581" y="4250"/>
                    <a:pt x="6605" y="4256"/>
                    <a:pt x="6630" y="4261"/>
                  </a:cubicBezTo>
                  <a:cubicBezTo>
                    <a:pt x="6471" y="4357"/>
                    <a:pt x="6423" y="4484"/>
                    <a:pt x="6343" y="4611"/>
                  </a:cubicBezTo>
                  <a:cubicBezTo>
                    <a:pt x="6235" y="4620"/>
                    <a:pt x="6126" y="4642"/>
                    <a:pt x="6019" y="4642"/>
                  </a:cubicBezTo>
                  <a:cubicBezTo>
                    <a:pt x="5923" y="4642"/>
                    <a:pt x="5829" y="4624"/>
                    <a:pt x="5739" y="4564"/>
                  </a:cubicBezTo>
                  <a:cubicBezTo>
                    <a:pt x="5756" y="4452"/>
                    <a:pt x="5962" y="4484"/>
                    <a:pt x="6025" y="4389"/>
                  </a:cubicBezTo>
                  <a:cubicBezTo>
                    <a:pt x="6051" y="4357"/>
                    <a:pt x="6084" y="4328"/>
                    <a:pt x="6103" y="4310"/>
                  </a:cubicBezTo>
                  <a:lnTo>
                    <a:pt x="6103" y="4310"/>
                  </a:lnTo>
                  <a:cubicBezTo>
                    <a:pt x="6346" y="4263"/>
                    <a:pt x="6466" y="4250"/>
                    <a:pt x="6535" y="4250"/>
                  </a:cubicBezTo>
                  <a:close/>
                  <a:moveTo>
                    <a:pt x="5421" y="5056"/>
                  </a:moveTo>
                  <a:lnTo>
                    <a:pt x="5421" y="5056"/>
                  </a:lnTo>
                  <a:cubicBezTo>
                    <a:pt x="5580" y="5168"/>
                    <a:pt x="5533" y="5247"/>
                    <a:pt x="5470" y="5343"/>
                  </a:cubicBezTo>
                  <a:cubicBezTo>
                    <a:pt x="5215" y="5279"/>
                    <a:pt x="5279" y="5184"/>
                    <a:pt x="5421" y="5056"/>
                  </a:cubicBezTo>
                  <a:close/>
                  <a:moveTo>
                    <a:pt x="4086" y="5932"/>
                  </a:moveTo>
                  <a:cubicBezTo>
                    <a:pt x="4117" y="5963"/>
                    <a:pt x="4134" y="5995"/>
                    <a:pt x="4166" y="6027"/>
                  </a:cubicBezTo>
                  <a:cubicBezTo>
                    <a:pt x="4134" y="6042"/>
                    <a:pt x="4117" y="6059"/>
                    <a:pt x="4086" y="6074"/>
                  </a:cubicBezTo>
                  <a:cubicBezTo>
                    <a:pt x="4054" y="6042"/>
                    <a:pt x="4022" y="6010"/>
                    <a:pt x="4022" y="5979"/>
                  </a:cubicBezTo>
                  <a:cubicBezTo>
                    <a:pt x="4007" y="5963"/>
                    <a:pt x="4054" y="5947"/>
                    <a:pt x="4086" y="5932"/>
                  </a:cubicBezTo>
                  <a:close/>
                  <a:moveTo>
                    <a:pt x="4531" y="7363"/>
                  </a:moveTo>
                  <a:cubicBezTo>
                    <a:pt x="4547" y="7394"/>
                    <a:pt x="4594" y="7426"/>
                    <a:pt x="4594" y="7458"/>
                  </a:cubicBezTo>
                  <a:cubicBezTo>
                    <a:pt x="4611" y="7473"/>
                    <a:pt x="4547" y="7490"/>
                    <a:pt x="4531" y="7505"/>
                  </a:cubicBezTo>
                  <a:cubicBezTo>
                    <a:pt x="4499" y="7473"/>
                    <a:pt x="4484" y="7441"/>
                    <a:pt x="4452" y="7410"/>
                  </a:cubicBezTo>
                  <a:cubicBezTo>
                    <a:pt x="4484" y="7394"/>
                    <a:pt x="4499" y="7378"/>
                    <a:pt x="4531" y="7363"/>
                  </a:cubicBezTo>
                  <a:close/>
                  <a:moveTo>
                    <a:pt x="4340" y="7681"/>
                  </a:moveTo>
                  <a:cubicBezTo>
                    <a:pt x="4372" y="7696"/>
                    <a:pt x="4388" y="7712"/>
                    <a:pt x="4420" y="7728"/>
                  </a:cubicBezTo>
                  <a:lnTo>
                    <a:pt x="4276" y="7776"/>
                  </a:lnTo>
                  <a:cubicBezTo>
                    <a:pt x="4245" y="7776"/>
                    <a:pt x="4229" y="7744"/>
                    <a:pt x="4198" y="7728"/>
                  </a:cubicBezTo>
                  <a:lnTo>
                    <a:pt x="4340" y="7681"/>
                  </a:lnTo>
                  <a:close/>
                  <a:moveTo>
                    <a:pt x="77020" y="8391"/>
                  </a:moveTo>
                  <a:cubicBezTo>
                    <a:pt x="77092" y="8391"/>
                    <a:pt x="77090" y="8469"/>
                    <a:pt x="77113" y="8539"/>
                  </a:cubicBezTo>
                  <a:cubicBezTo>
                    <a:pt x="77033" y="8491"/>
                    <a:pt x="76970" y="8459"/>
                    <a:pt x="76906" y="8427"/>
                  </a:cubicBezTo>
                  <a:cubicBezTo>
                    <a:pt x="76957" y="8402"/>
                    <a:pt x="76994" y="8391"/>
                    <a:pt x="77020" y="8391"/>
                  </a:cubicBezTo>
                  <a:close/>
                  <a:moveTo>
                    <a:pt x="4467" y="8953"/>
                  </a:moveTo>
                  <a:lnTo>
                    <a:pt x="4467" y="8953"/>
                  </a:lnTo>
                  <a:cubicBezTo>
                    <a:pt x="4738" y="9016"/>
                    <a:pt x="4675" y="9112"/>
                    <a:pt x="4531" y="9239"/>
                  </a:cubicBezTo>
                  <a:cubicBezTo>
                    <a:pt x="4372" y="9127"/>
                    <a:pt x="4404" y="9048"/>
                    <a:pt x="4467" y="8953"/>
                  </a:cubicBezTo>
                  <a:close/>
                  <a:moveTo>
                    <a:pt x="79657" y="9811"/>
                  </a:moveTo>
                  <a:cubicBezTo>
                    <a:pt x="79689" y="9843"/>
                    <a:pt x="79721" y="9875"/>
                    <a:pt x="79736" y="9906"/>
                  </a:cubicBezTo>
                  <a:cubicBezTo>
                    <a:pt x="79721" y="9922"/>
                    <a:pt x="79689" y="9938"/>
                    <a:pt x="79657" y="9954"/>
                  </a:cubicBezTo>
                  <a:cubicBezTo>
                    <a:pt x="79641" y="9922"/>
                    <a:pt x="79609" y="9890"/>
                    <a:pt x="79594" y="9858"/>
                  </a:cubicBezTo>
                  <a:cubicBezTo>
                    <a:pt x="79594" y="9843"/>
                    <a:pt x="79641" y="9826"/>
                    <a:pt x="79657" y="9811"/>
                  </a:cubicBezTo>
                  <a:close/>
                  <a:moveTo>
                    <a:pt x="2973" y="11385"/>
                  </a:moveTo>
                  <a:cubicBezTo>
                    <a:pt x="3132" y="11480"/>
                    <a:pt x="3132" y="11575"/>
                    <a:pt x="2973" y="11671"/>
                  </a:cubicBezTo>
                  <a:cubicBezTo>
                    <a:pt x="2814" y="11575"/>
                    <a:pt x="2814" y="11480"/>
                    <a:pt x="2973" y="11385"/>
                  </a:cubicBezTo>
                  <a:close/>
                  <a:moveTo>
                    <a:pt x="2321" y="11671"/>
                  </a:moveTo>
                  <a:cubicBezTo>
                    <a:pt x="2417" y="11798"/>
                    <a:pt x="2655" y="11814"/>
                    <a:pt x="2639" y="11957"/>
                  </a:cubicBezTo>
                  <a:cubicBezTo>
                    <a:pt x="2750" y="11957"/>
                    <a:pt x="2845" y="11973"/>
                    <a:pt x="2814" y="12052"/>
                  </a:cubicBezTo>
                  <a:cubicBezTo>
                    <a:pt x="2814" y="12084"/>
                    <a:pt x="2703" y="12084"/>
                    <a:pt x="2639" y="12101"/>
                  </a:cubicBezTo>
                  <a:cubicBezTo>
                    <a:pt x="2653" y="12172"/>
                    <a:pt x="2629" y="12230"/>
                    <a:pt x="2531" y="12230"/>
                  </a:cubicBezTo>
                  <a:cubicBezTo>
                    <a:pt x="2520" y="12230"/>
                    <a:pt x="2508" y="12229"/>
                    <a:pt x="2496" y="12228"/>
                  </a:cubicBezTo>
                  <a:cubicBezTo>
                    <a:pt x="2464" y="12211"/>
                    <a:pt x="2449" y="12148"/>
                    <a:pt x="2417" y="12101"/>
                  </a:cubicBezTo>
                  <a:cubicBezTo>
                    <a:pt x="2305" y="12148"/>
                    <a:pt x="2194" y="12196"/>
                    <a:pt x="2050" y="12243"/>
                  </a:cubicBezTo>
                  <a:cubicBezTo>
                    <a:pt x="2019" y="12179"/>
                    <a:pt x="1955" y="12116"/>
                    <a:pt x="1987" y="12069"/>
                  </a:cubicBezTo>
                  <a:cubicBezTo>
                    <a:pt x="2067" y="11925"/>
                    <a:pt x="2194" y="11814"/>
                    <a:pt x="2321" y="11671"/>
                  </a:cubicBezTo>
                  <a:close/>
                  <a:moveTo>
                    <a:pt x="3195" y="12101"/>
                  </a:moveTo>
                  <a:cubicBezTo>
                    <a:pt x="3354" y="12211"/>
                    <a:pt x="3354" y="12307"/>
                    <a:pt x="3195" y="12402"/>
                  </a:cubicBezTo>
                  <a:cubicBezTo>
                    <a:pt x="3036" y="12307"/>
                    <a:pt x="3036" y="12211"/>
                    <a:pt x="3195" y="12101"/>
                  </a:cubicBezTo>
                  <a:close/>
                  <a:moveTo>
                    <a:pt x="2527" y="12529"/>
                  </a:moveTo>
                  <a:cubicBezTo>
                    <a:pt x="2718" y="12688"/>
                    <a:pt x="2718" y="12832"/>
                    <a:pt x="2527" y="12974"/>
                  </a:cubicBezTo>
                  <a:cubicBezTo>
                    <a:pt x="2337" y="12832"/>
                    <a:pt x="2337" y="12688"/>
                    <a:pt x="2527" y="12529"/>
                  </a:cubicBezTo>
                  <a:close/>
                  <a:moveTo>
                    <a:pt x="3354" y="12705"/>
                  </a:moveTo>
                  <a:cubicBezTo>
                    <a:pt x="3577" y="12720"/>
                    <a:pt x="3609" y="12847"/>
                    <a:pt x="3768" y="12896"/>
                  </a:cubicBezTo>
                  <a:cubicBezTo>
                    <a:pt x="3752" y="12959"/>
                    <a:pt x="3736" y="13023"/>
                    <a:pt x="3704" y="13102"/>
                  </a:cubicBezTo>
                  <a:cubicBezTo>
                    <a:pt x="3481" y="13086"/>
                    <a:pt x="3450" y="12943"/>
                    <a:pt x="3291" y="12911"/>
                  </a:cubicBezTo>
                  <a:cubicBezTo>
                    <a:pt x="3307" y="12832"/>
                    <a:pt x="3339" y="12768"/>
                    <a:pt x="3354" y="12705"/>
                  </a:cubicBezTo>
                  <a:close/>
                  <a:moveTo>
                    <a:pt x="1192" y="12959"/>
                  </a:moveTo>
                  <a:lnTo>
                    <a:pt x="1192" y="12959"/>
                  </a:lnTo>
                  <a:cubicBezTo>
                    <a:pt x="1367" y="13070"/>
                    <a:pt x="1319" y="13150"/>
                    <a:pt x="1255" y="13245"/>
                  </a:cubicBezTo>
                  <a:cubicBezTo>
                    <a:pt x="986" y="13182"/>
                    <a:pt x="1049" y="13086"/>
                    <a:pt x="1192" y="12959"/>
                  </a:cubicBezTo>
                  <a:close/>
                  <a:moveTo>
                    <a:pt x="78252" y="14831"/>
                  </a:moveTo>
                  <a:cubicBezTo>
                    <a:pt x="78361" y="14831"/>
                    <a:pt x="78479" y="14858"/>
                    <a:pt x="78591" y="14867"/>
                  </a:cubicBezTo>
                  <a:cubicBezTo>
                    <a:pt x="78623" y="14899"/>
                    <a:pt x="78799" y="14963"/>
                    <a:pt x="78560" y="14994"/>
                  </a:cubicBezTo>
                  <a:cubicBezTo>
                    <a:pt x="78483" y="14994"/>
                    <a:pt x="78427" y="15046"/>
                    <a:pt x="78457" y="15057"/>
                  </a:cubicBezTo>
                  <a:lnTo>
                    <a:pt x="78457" y="15057"/>
                  </a:lnTo>
                  <a:cubicBezTo>
                    <a:pt x="78201" y="15051"/>
                    <a:pt x="78109" y="14975"/>
                    <a:pt x="78004" y="14914"/>
                  </a:cubicBezTo>
                  <a:cubicBezTo>
                    <a:pt x="78076" y="14850"/>
                    <a:pt x="78161" y="14831"/>
                    <a:pt x="78252" y="14831"/>
                  </a:cubicBezTo>
                  <a:close/>
                  <a:moveTo>
                    <a:pt x="2623" y="16107"/>
                  </a:moveTo>
                  <a:lnTo>
                    <a:pt x="2845" y="16218"/>
                  </a:lnTo>
                  <a:cubicBezTo>
                    <a:pt x="2794" y="16244"/>
                    <a:pt x="2757" y="16255"/>
                    <a:pt x="2731" y="16255"/>
                  </a:cubicBezTo>
                  <a:cubicBezTo>
                    <a:pt x="2659" y="16255"/>
                    <a:pt x="2658" y="16177"/>
                    <a:pt x="2623" y="16107"/>
                  </a:cubicBezTo>
                  <a:close/>
                  <a:moveTo>
                    <a:pt x="75174" y="16871"/>
                  </a:moveTo>
                  <a:cubicBezTo>
                    <a:pt x="75237" y="16886"/>
                    <a:pt x="75284" y="16902"/>
                    <a:pt x="75333" y="16918"/>
                  </a:cubicBezTo>
                  <a:cubicBezTo>
                    <a:pt x="75301" y="16934"/>
                    <a:pt x="75284" y="16949"/>
                    <a:pt x="75253" y="16966"/>
                  </a:cubicBezTo>
                  <a:lnTo>
                    <a:pt x="75110" y="16918"/>
                  </a:lnTo>
                  <a:cubicBezTo>
                    <a:pt x="75125" y="16902"/>
                    <a:pt x="75157" y="16871"/>
                    <a:pt x="75174" y="16871"/>
                  </a:cubicBezTo>
                  <a:close/>
                  <a:moveTo>
                    <a:pt x="46650" y="0"/>
                  </a:moveTo>
                  <a:cubicBezTo>
                    <a:pt x="46522" y="64"/>
                    <a:pt x="46411" y="128"/>
                    <a:pt x="46300" y="191"/>
                  </a:cubicBezTo>
                  <a:lnTo>
                    <a:pt x="45886" y="191"/>
                  </a:lnTo>
                  <a:cubicBezTo>
                    <a:pt x="45791" y="240"/>
                    <a:pt x="45711" y="271"/>
                    <a:pt x="45647" y="318"/>
                  </a:cubicBezTo>
                  <a:cubicBezTo>
                    <a:pt x="45552" y="271"/>
                    <a:pt x="45473" y="223"/>
                    <a:pt x="45425" y="191"/>
                  </a:cubicBezTo>
                  <a:lnTo>
                    <a:pt x="44773" y="191"/>
                  </a:lnTo>
                  <a:cubicBezTo>
                    <a:pt x="44662" y="255"/>
                    <a:pt x="44566" y="287"/>
                    <a:pt x="44487" y="335"/>
                  </a:cubicBezTo>
                  <a:lnTo>
                    <a:pt x="43294" y="335"/>
                  </a:lnTo>
                  <a:cubicBezTo>
                    <a:pt x="43438" y="558"/>
                    <a:pt x="43152" y="621"/>
                    <a:pt x="42944" y="780"/>
                  </a:cubicBezTo>
                  <a:cubicBezTo>
                    <a:pt x="42913" y="636"/>
                    <a:pt x="42866" y="494"/>
                    <a:pt x="42834" y="367"/>
                  </a:cubicBezTo>
                  <a:cubicBezTo>
                    <a:pt x="42738" y="303"/>
                    <a:pt x="42626" y="240"/>
                    <a:pt x="42548" y="191"/>
                  </a:cubicBezTo>
                  <a:lnTo>
                    <a:pt x="41880" y="191"/>
                  </a:lnTo>
                  <a:cubicBezTo>
                    <a:pt x="41784" y="240"/>
                    <a:pt x="41704" y="271"/>
                    <a:pt x="41641" y="318"/>
                  </a:cubicBezTo>
                  <a:cubicBezTo>
                    <a:pt x="41562" y="271"/>
                    <a:pt x="41513" y="240"/>
                    <a:pt x="41450" y="191"/>
                  </a:cubicBezTo>
                  <a:lnTo>
                    <a:pt x="40958" y="191"/>
                  </a:lnTo>
                  <a:cubicBezTo>
                    <a:pt x="40894" y="287"/>
                    <a:pt x="40830" y="367"/>
                    <a:pt x="40782" y="462"/>
                  </a:cubicBezTo>
                  <a:cubicBezTo>
                    <a:pt x="40750" y="446"/>
                    <a:pt x="40735" y="446"/>
                    <a:pt x="40703" y="430"/>
                  </a:cubicBezTo>
                  <a:cubicBezTo>
                    <a:pt x="40655" y="350"/>
                    <a:pt x="40623" y="271"/>
                    <a:pt x="40576" y="191"/>
                  </a:cubicBezTo>
                  <a:lnTo>
                    <a:pt x="40322" y="191"/>
                  </a:lnTo>
                  <a:cubicBezTo>
                    <a:pt x="40258" y="223"/>
                    <a:pt x="40163" y="271"/>
                    <a:pt x="40082" y="318"/>
                  </a:cubicBezTo>
                  <a:cubicBezTo>
                    <a:pt x="40051" y="325"/>
                    <a:pt x="40018" y="327"/>
                    <a:pt x="39985" y="327"/>
                  </a:cubicBezTo>
                  <a:cubicBezTo>
                    <a:pt x="39925" y="327"/>
                    <a:pt x="39862" y="320"/>
                    <a:pt x="39800" y="320"/>
                  </a:cubicBezTo>
                  <a:cubicBezTo>
                    <a:pt x="39718" y="320"/>
                    <a:pt x="39640" y="331"/>
                    <a:pt x="39574" y="382"/>
                  </a:cubicBezTo>
                  <a:cubicBezTo>
                    <a:pt x="39510" y="446"/>
                    <a:pt x="39590" y="573"/>
                    <a:pt x="39415" y="605"/>
                  </a:cubicBezTo>
                  <a:cubicBezTo>
                    <a:pt x="39240" y="367"/>
                    <a:pt x="38763" y="573"/>
                    <a:pt x="38573" y="350"/>
                  </a:cubicBezTo>
                  <a:cubicBezTo>
                    <a:pt x="38557" y="335"/>
                    <a:pt x="38507" y="331"/>
                    <a:pt x="38447" y="331"/>
                  </a:cubicBezTo>
                  <a:cubicBezTo>
                    <a:pt x="38384" y="331"/>
                    <a:pt x="38311" y="335"/>
                    <a:pt x="38255" y="335"/>
                  </a:cubicBezTo>
                  <a:cubicBezTo>
                    <a:pt x="38199" y="327"/>
                    <a:pt x="38143" y="323"/>
                    <a:pt x="38087" y="323"/>
                  </a:cubicBezTo>
                  <a:cubicBezTo>
                    <a:pt x="38032" y="323"/>
                    <a:pt x="37976" y="327"/>
                    <a:pt x="37920" y="335"/>
                  </a:cubicBezTo>
                  <a:cubicBezTo>
                    <a:pt x="37888" y="335"/>
                    <a:pt x="37856" y="350"/>
                    <a:pt x="37825" y="350"/>
                  </a:cubicBezTo>
                  <a:lnTo>
                    <a:pt x="37841" y="367"/>
                  </a:lnTo>
                  <a:cubicBezTo>
                    <a:pt x="37729" y="414"/>
                    <a:pt x="37602" y="462"/>
                    <a:pt x="37491" y="494"/>
                  </a:cubicBezTo>
                  <a:cubicBezTo>
                    <a:pt x="37380" y="430"/>
                    <a:pt x="37301" y="382"/>
                    <a:pt x="37189" y="318"/>
                  </a:cubicBezTo>
                  <a:cubicBezTo>
                    <a:pt x="37138" y="329"/>
                    <a:pt x="37085" y="333"/>
                    <a:pt x="37031" y="333"/>
                  </a:cubicBezTo>
                  <a:cubicBezTo>
                    <a:pt x="36937" y="333"/>
                    <a:pt x="36840" y="322"/>
                    <a:pt x="36742" y="322"/>
                  </a:cubicBezTo>
                  <a:cubicBezTo>
                    <a:pt x="36652" y="322"/>
                    <a:pt x="36562" y="331"/>
                    <a:pt x="36474" y="367"/>
                  </a:cubicBezTo>
                  <a:cubicBezTo>
                    <a:pt x="36426" y="446"/>
                    <a:pt x="36378" y="541"/>
                    <a:pt x="36362" y="573"/>
                  </a:cubicBezTo>
                  <a:cubicBezTo>
                    <a:pt x="36291" y="601"/>
                    <a:pt x="36233" y="612"/>
                    <a:pt x="36183" y="612"/>
                  </a:cubicBezTo>
                  <a:cubicBezTo>
                    <a:pt x="36032" y="612"/>
                    <a:pt x="35957" y="510"/>
                    <a:pt x="35838" y="462"/>
                  </a:cubicBezTo>
                  <a:lnTo>
                    <a:pt x="35456" y="462"/>
                  </a:lnTo>
                  <a:cubicBezTo>
                    <a:pt x="35313" y="399"/>
                    <a:pt x="35202" y="350"/>
                    <a:pt x="35090" y="303"/>
                  </a:cubicBezTo>
                  <a:cubicBezTo>
                    <a:pt x="34931" y="367"/>
                    <a:pt x="34820" y="414"/>
                    <a:pt x="34740" y="462"/>
                  </a:cubicBezTo>
                  <a:lnTo>
                    <a:pt x="33850" y="462"/>
                  </a:lnTo>
                  <a:cubicBezTo>
                    <a:pt x="33771" y="414"/>
                    <a:pt x="33723" y="382"/>
                    <a:pt x="33659" y="335"/>
                  </a:cubicBezTo>
                  <a:cubicBezTo>
                    <a:pt x="33580" y="382"/>
                    <a:pt x="33517" y="414"/>
                    <a:pt x="33421" y="462"/>
                  </a:cubicBezTo>
                  <a:lnTo>
                    <a:pt x="33008" y="462"/>
                  </a:lnTo>
                  <a:cubicBezTo>
                    <a:pt x="32829" y="560"/>
                    <a:pt x="32742" y="607"/>
                    <a:pt x="32652" y="607"/>
                  </a:cubicBezTo>
                  <a:cubicBezTo>
                    <a:pt x="32567" y="607"/>
                    <a:pt x="32479" y="563"/>
                    <a:pt x="32308" y="477"/>
                  </a:cubicBezTo>
                  <a:cubicBezTo>
                    <a:pt x="32228" y="526"/>
                    <a:pt x="32149" y="558"/>
                    <a:pt x="32086" y="605"/>
                  </a:cubicBezTo>
                  <a:cubicBezTo>
                    <a:pt x="32005" y="558"/>
                    <a:pt x="31958" y="526"/>
                    <a:pt x="31895" y="477"/>
                  </a:cubicBezTo>
                  <a:lnTo>
                    <a:pt x="31418" y="477"/>
                  </a:lnTo>
                  <a:cubicBezTo>
                    <a:pt x="31322" y="541"/>
                    <a:pt x="31242" y="573"/>
                    <a:pt x="31179" y="605"/>
                  </a:cubicBezTo>
                  <a:cubicBezTo>
                    <a:pt x="31100" y="541"/>
                    <a:pt x="31051" y="509"/>
                    <a:pt x="30988" y="477"/>
                  </a:cubicBezTo>
                  <a:lnTo>
                    <a:pt x="29652" y="477"/>
                  </a:lnTo>
                  <a:cubicBezTo>
                    <a:pt x="29543" y="519"/>
                    <a:pt x="29457" y="631"/>
                    <a:pt x="29293" y="631"/>
                  </a:cubicBezTo>
                  <a:cubicBezTo>
                    <a:pt x="29266" y="631"/>
                    <a:pt x="29238" y="628"/>
                    <a:pt x="29207" y="621"/>
                  </a:cubicBezTo>
                  <a:cubicBezTo>
                    <a:pt x="29128" y="558"/>
                    <a:pt x="29048" y="509"/>
                    <a:pt x="28969" y="477"/>
                  </a:cubicBezTo>
                  <a:lnTo>
                    <a:pt x="27872" y="477"/>
                  </a:lnTo>
                  <a:cubicBezTo>
                    <a:pt x="27793" y="526"/>
                    <a:pt x="27713" y="558"/>
                    <a:pt x="27634" y="605"/>
                  </a:cubicBezTo>
                  <a:cubicBezTo>
                    <a:pt x="27570" y="558"/>
                    <a:pt x="27522" y="526"/>
                    <a:pt x="27458" y="494"/>
                  </a:cubicBezTo>
                  <a:cubicBezTo>
                    <a:pt x="27292" y="549"/>
                    <a:pt x="27134" y="620"/>
                    <a:pt x="26956" y="620"/>
                  </a:cubicBezTo>
                  <a:cubicBezTo>
                    <a:pt x="26879" y="620"/>
                    <a:pt x="26798" y="607"/>
                    <a:pt x="26711" y="573"/>
                  </a:cubicBezTo>
                  <a:cubicBezTo>
                    <a:pt x="26648" y="541"/>
                    <a:pt x="26600" y="509"/>
                    <a:pt x="26536" y="462"/>
                  </a:cubicBezTo>
                  <a:cubicBezTo>
                    <a:pt x="26463" y="462"/>
                    <a:pt x="26358" y="452"/>
                    <a:pt x="26270" y="452"/>
                  </a:cubicBezTo>
                  <a:cubicBezTo>
                    <a:pt x="26205" y="452"/>
                    <a:pt x="26150" y="457"/>
                    <a:pt x="26123" y="477"/>
                  </a:cubicBezTo>
                  <a:cubicBezTo>
                    <a:pt x="25916" y="621"/>
                    <a:pt x="25582" y="589"/>
                    <a:pt x="25408" y="748"/>
                  </a:cubicBezTo>
                  <a:cubicBezTo>
                    <a:pt x="25359" y="717"/>
                    <a:pt x="25312" y="685"/>
                    <a:pt x="25232" y="636"/>
                  </a:cubicBezTo>
                  <a:lnTo>
                    <a:pt x="24342" y="636"/>
                  </a:lnTo>
                  <a:cubicBezTo>
                    <a:pt x="24183" y="685"/>
                    <a:pt x="24072" y="732"/>
                    <a:pt x="23945" y="780"/>
                  </a:cubicBezTo>
                  <a:cubicBezTo>
                    <a:pt x="23833" y="717"/>
                    <a:pt x="23754" y="685"/>
                    <a:pt x="23610" y="605"/>
                  </a:cubicBezTo>
                  <a:lnTo>
                    <a:pt x="22720" y="605"/>
                  </a:lnTo>
                  <a:cubicBezTo>
                    <a:pt x="22656" y="494"/>
                    <a:pt x="22609" y="414"/>
                    <a:pt x="22546" y="287"/>
                  </a:cubicBezTo>
                  <a:cubicBezTo>
                    <a:pt x="22307" y="462"/>
                    <a:pt x="22084" y="636"/>
                    <a:pt x="21910" y="764"/>
                  </a:cubicBezTo>
                  <a:lnTo>
                    <a:pt x="20303" y="764"/>
                  </a:lnTo>
                  <a:cubicBezTo>
                    <a:pt x="20240" y="812"/>
                    <a:pt x="20176" y="844"/>
                    <a:pt x="20129" y="876"/>
                  </a:cubicBezTo>
                  <a:cubicBezTo>
                    <a:pt x="19958" y="830"/>
                    <a:pt x="19787" y="752"/>
                    <a:pt x="19599" y="752"/>
                  </a:cubicBezTo>
                  <a:cubicBezTo>
                    <a:pt x="19524" y="752"/>
                    <a:pt x="19447" y="764"/>
                    <a:pt x="19366" y="795"/>
                  </a:cubicBezTo>
                  <a:lnTo>
                    <a:pt x="19222" y="891"/>
                  </a:lnTo>
                  <a:cubicBezTo>
                    <a:pt x="19134" y="891"/>
                    <a:pt x="19042" y="903"/>
                    <a:pt x="18946" y="903"/>
                  </a:cubicBezTo>
                  <a:cubicBezTo>
                    <a:pt x="18852" y="903"/>
                    <a:pt x="18753" y="891"/>
                    <a:pt x="18650" y="844"/>
                  </a:cubicBezTo>
                  <a:cubicBezTo>
                    <a:pt x="18666" y="780"/>
                    <a:pt x="18681" y="685"/>
                    <a:pt x="18698" y="621"/>
                  </a:cubicBezTo>
                  <a:cubicBezTo>
                    <a:pt x="19016" y="621"/>
                    <a:pt x="19270" y="621"/>
                    <a:pt x="19525" y="605"/>
                  </a:cubicBezTo>
                  <a:cubicBezTo>
                    <a:pt x="19552" y="603"/>
                    <a:pt x="19579" y="603"/>
                    <a:pt x="19606" y="603"/>
                  </a:cubicBezTo>
                  <a:cubicBezTo>
                    <a:pt x="19754" y="603"/>
                    <a:pt x="19905" y="621"/>
                    <a:pt x="20053" y="621"/>
                  </a:cubicBezTo>
                  <a:cubicBezTo>
                    <a:pt x="20166" y="621"/>
                    <a:pt x="20277" y="610"/>
                    <a:pt x="20383" y="573"/>
                  </a:cubicBezTo>
                  <a:cubicBezTo>
                    <a:pt x="20447" y="462"/>
                    <a:pt x="20447" y="382"/>
                    <a:pt x="20303" y="335"/>
                  </a:cubicBezTo>
                  <a:cubicBezTo>
                    <a:pt x="20259" y="320"/>
                    <a:pt x="20221" y="314"/>
                    <a:pt x="20188" y="314"/>
                  </a:cubicBezTo>
                  <a:cubicBezTo>
                    <a:pt x="20040" y="314"/>
                    <a:pt x="19978" y="433"/>
                    <a:pt x="19875" y="446"/>
                  </a:cubicBezTo>
                  <a:cubicBezTo>
                    <a:pt x="19747" y="399"/>
                    <a:pt x="19620" y="350"/>
                    <a:pt x="19508" y="303"/>
                  </a:cubicBezTo>
                  <a:cubicBezTo>
                    <a:pt x="19398" y="367"/>
                    <a:pt x="19302" y="399"/>
                    <a:pt x="19222" y="446"/>
                  </a:cubicBezTo>
                  <a:cubicBezTo>
                    <a:pt x="18840" y="462"/>
                    <a:pt x="18444" y="477"/>
                    <a:pt x="18046" y="509"/>
                  </a:cubicBezTo>
                  <a:cubicBezTo>
                    <a:pt x="18030" y="509"/>
                    <a:pt x="18014" y="541"/>
                    <a:pt x="17998" y="558"/>
                  </a:cubicBezTo>
                  <a:cubicBezTo>
                    <a:pt x="18062" y="573"/>
                    <a:pt x="18109" y="589"/>
                    <a:pt x="18173" y="621"/>
                  </a:cubicBezTo>
                  <a:cubicBezTo>
                    <a:pt x="18253" y="636"/>
                    <a:pt x="18332" y="653"/>
                    <a:pt x="18444" y="685"/>
                  </a:cubicBezTo>
                  <a:cubicBezTo>
                    <a:pt x="18253" y="764"/>
                    <a:pt x="18189" y="907"/>
                    <a:pt x="17918" y="907"/>
                  </a:cubicBezTo>
                  <a:cubicBezTo>
                    <a:pt x="17839" y="859"/>
                    <a:pt x="17728" y="812"/>
                    <a:pt x="17632" y="780"/>
                  </a:cubicBezTo>
                  <a:cubicBezTo>
                    <a:pt x="17537" y="827"/>
                    <a:pt x="17458" y="859"/>
                    <a:pt x="17378" y="907"/>
                  </a:cubicBezTo>
                  <a:lnTo>
                    <a:pt x="16742" y="907"/>
                  </a:lnTo>
                  <a:cubicBezTo>
                    <a:pt x="16584" y="986"/>
                    <a:pt x="16514" y="1021"/>
                    <a:pt x="16439" y="1021"/>
                  </a:cubicBezTo>
                  <a:cubicBezTo>
                    <a:pt x="16379" y="1021"/>
                    <a:pt x="16316" y="997"/>
                    <a:pt x="16201" y="954"/>
                  </a:cubicBezTo>
                  <a:cubicBezTo>
                    <a:pt x="16201" y="939"/>
                    <a:pt x="16186" y="907"/>
                    <a:pt x="16201" y="891"/>
                  </a:cubicBezTo>
                  <a:cubicBezTo>
                    <a:pt x="16265" y="812"/>
                    <a:pt x="16328" y="732"/>
                    <a:pt x="16408" y="653"/>
                  </a:cubicBezTo>
                  <a:cubicBezTo>
                    <a:pt x="16329" y="617"/>
                    <a:pt x="16246" y="607"/>
                    <a:pt x="16163" y="607"/>
                  </a:cubicBezTo>
                  <a:cubicBezTo>
                    <a:pt x="16063" y="607"/>
                    <a:pt x="15963" y="621"/>
                    <a:pt x="15868" y="621"/>
                  </a:cubicBezTo>
                  <a:cubicBezTo>
                    <a:pt x="15787" y="621"/>
                    <a:pt x="15702" y="611"/>
                    <a:pt x="15616" y="611"/>
                  </a:cubicBezTo>
                  <a:cubicBezTo>
                    <a:pt x="15516" y="611"/>
                    <a:pt x="15413" y="625"/>
                    <a:pt x="15311" y="685"/>
                  </a:cubicBezTo>
                  <a:lnTo>
                    <a:pt x="15311" y="1113"/>
                  </a:lnTo>
                  <a:cubicBezTo>
                    <a:pt x="15247" y="1162"/>
                    <a:pt x="15215" y="1194"/>
                    <a:pt x="15184" y="1194"/>
                  </a:cubicBezTo>
                  <a:lnTo>
                    <a:pt x="13642" y="1194"/>
                  </a:lnTo>
                  <a:cubicBezTo>
                    <a:pt x="13534" y="1117"/>
                    <a:pt x="13433" y="1027"/>
                    <a:pt x="13309" y="1027"/>
                  </a:cubicBezTo>
                  <a:cubicBezTo>
                    <a:pt x="13251" y="1027"/>
                    <a:pt x="13188" y="1047"/>
                    <a:pt x="13117" y="1098"/>
                  </a:cubicBezTo>
                  <a:cubicBezTo>
                    <a:pt x="13085" y="1177"/>
                    <a:pt x="13070" y="1241"/>
                    <a:pt x="13053" y="1289"/>
                  </a:cubicBezTo>
                  <a:cubicBezTo>
                    <a:pt x="12799" y="1368"/>
                    <a:pt x="12576" y="1416"/>
                    <a:pt x="12353" y="1480"/>
                  </a:cubicBezTo>
                  <a:cubicBezTo>
                    <a:pt x="12105" y="1538"/>
                    <a:pt x="12032" y="1771"/>
                    <a:pt x="11736" y="1771"/>
                  </a:cubicBezTo>
                  <a:cubicBezTo>
                    <a:pt x="11710" y="1771"/>
                    <a:pt x="11683" y="1770"/>
                    <a:pt x="11654" y="1766"/>
                  </a:cubicBezTo>
                  <a:cubicBezTo>
                    <a:pt x="11575" y="1718"/>
                    <a:pt x="11495" y="1670"/>
                    <a:pt x="11448" y="1639"/>
                  </a:cubicBezTo>
                  <a:cubicBezTo>
                    <a:pt x="10812" y="1845"/>
                    <a:pt x="10208" y="2052"/>
                    <a:pt x="9635" y="2243"/>
                  </a:cubicBezTo>
                  <a:cubicBezTo>
                    <a:pt x="9491" y="2385"/>
                    <a:pt x="9349" y="2513"/>
                    <a:pt x="9237" y="2624"/>
                  </a:cubicBezTo>
                  <a:lnTo>
                    <a:pt x="8808" y="2624"/>
                  </a:lnTo>
                  <a:cubicBezTo>
                    <a:pt x="8522" y="2735"/>
                    <a:pt x="8283" y="2831"/>
                    <a:pt x="8029" y="2911"/>
                  </a:cubicBezTo>
                  <a:cubicBezTo>
                    <a:pt x="7992" y="2921"/>
                    <a:pt x="7950" y="2925"/>
                    <a:pt x="7905" y="2925"/>
                  </a:cubicBezTo>
                  <a:cubicBezTo>
                    <a:pt x="7816" y="2925"/>
                    <a:pt x="7717" y="2911"/>
                    <a:pt x="7632" y="2911"/>
                  </a:cubicBezTo>
                  <a:cubicBezTo>
                    <a:pt x="7520" y="3021"/>
                    <a:pt x="7329" y="3070"/>
                    <a:pt x="7297" y="3212"/>
                  </a:cubicBezTo>
                  <a:cubicBezTo>
                    <a:pt x="7266" y="3308"/>
                    <a:pt x="7107" y="3403"/>
                    <a:pt x="6996" y="3483"/>
                  </a:cubicBezTo>
                  <a:lnTo>
                    <a:pt x="6757" y="3483"/>
                  </a:lnTo>
                  <a:cubicBezTo>
                    <a:pt x="6439" y="3674"/>
                    <a:pt x="6201" y="3912"/>
                    <a:pt x="5756" y="3992"/>
                  </a:cubicBezTo>
                  <a:cubicBezTo>
                    <a:pt x="5756" y="4151"/>
                    <a:pt x="5756" y="4325"/>
                    <a:pt x="6025" y="4325"/>
                  </a:cubicBezTo>
                  <a:cubicBezTo>
                    <a:pt x="5533" y="4484"/>
                    <a:pt x="5421" y="4628"/>
                    <a:pt x="5199" y="4660"/>
                  </a:cubicBezTo>
                  <a:cubicBezTo>
                    <a:pt x="4976" y="4691"/>
                    <a:pt x="4817" y="4866"/>
                    <a:pt x="4626" y="4978"/>
                  </a:cubicBezTo>
                  <a:cubicBezTo>
                    <a:pt x="4722" y="5041"/>
                    <a:pt x="4785" y="5088"/>
                    <a:pt x="4834" y="5120"/>
                  </a:cubicBezTo>
                  <a:cubicBezTo>
                    <a:pt x="4722" y="5264"/>
                    <a:pt x="4626" y="5374"/>
                    <a:pt x="4531" y="5502"/>
                  </a:cubicBezTo>
                  <a:lnTo>
                    <a:pt x="4293" y="5359"/>
                  </a:lnTo>
                  <a:cubicBezTo>
                    <a:pt x="4213" y="5455"/>
                    <a:pt x="4149" y="5550"/>
                    <a:pt x="4054" y="5677"/>
                  </a:cubicBezTo>
                  <a:cubicBezTo>
                    <a:pt x="3880" y="5614"/>
                    <a:pt x="3752" y="5565"/>
                    <a:pt x="3640" y="5533"/>
                  </a:cubicBezTo>
                  <a:cubicBezTo>
                    <a:pt x="3434" y="5597"/>
                    <a:pt x="3259" y="5661"/>
                    <a:pt x="3085" y="5724"/>
                  </a:cubicBezTo>
                  <a:cubicBezTo>
                    <a:pt x="3085" y="5773"/>
                    <a:pt x="3068" y="5820"/>
                    <a:pt x="3068" y="5883"/>
                  </a:cubicBezTo>
                  <a:cubicBezTo>
                    <a:pt x="2957" y="5915"/>
                    <a:pt x="2798" y="5915"/>
                    <a:pt x="2703" y="5979"/>
                  </a:cubicBezTo>
                  <a:cubicBezTo>
                    <a:pt x="2590" y="6022"/>
                    <a:pt x="2502" y="6077"/>
                    <a:pt x="2360" y="6077"/>
                  </a:cubicBezTo>
                  <a:cubicBezTo>
                    <a:pt x="2343" y="6077"/>
                    <a:pt x="2324" y="6076"/>
                    <a:pt x="2305" y="6074"/>
                  </a:cubicBezTo>
                  <a:cubicBezTo>
                    <a:pt x="2035" y="6265"/>
                    <a:pt x="1749" y="6440"/>
                    <a:pt x="1478" y="6615"/>
                  </a:cubicBezTo>
                  <a:cubicBezTo>
                    <a:pt x="1319" y="6646"/>
                    <a:pt x="1208" y="6678"/>
                    <a:pt x="1081" y="6710"/>
                  </a:cubicBezTo>
                  <a:cubicBezTo>
                    <a:pt x="1128" y="6837"/>
                    <a:pt x="1001" y="6964"/>
                    <a:pt x="1177" y="7060"/>
                  </a:cubicBezTo>
                  <a:cubicBezTo>
                    <a:pt x="1351" y="7076"/>
                    <a:pt x="1526" y="7092"/>
                    <a:pt x="1685" y="7092"/>
                  </a:cubicBezTo>
                  <a:cubicBezTo>
                    <a:pt x="1796" y="7187"/>
                    <a:pt x="1891" y="7251"/>
                    <a:pt x="1972" y="7299"/>
                  </a:cubicBezTo>
                  <a:cubicBezTo>
                    <a:pt x="2003" y="7441"/>
                    <a:pt x="1891" y="7569"/>
                    <a:pt x="2099" y="7664"/>
                  </a:cubicBezTo>
                  <a:cubicBezTo>
                    <a:pt x="2162" y="7553"/>
                    <a:pt x="2241" y="7458"/>
                    <a:pt x="2305" y="7363"/>
                  </a:cubicBezTo>
                  <a:cubicBezTo>
                    <a:pt x="2316" y="7362"/>
                    <a:pt x="2326" y="7362"/>
                    <a:pt x="2337" y="7362"/>
                  </a:cubicBezTo>
                  <a:cubicBezTo>
                    <a:pt x="2921" y="7362"/>
                    <a:pt x="2789" y="7810"/>
                    <a:pt x="3195" y="7935"/>
                  </a:cubicBezTo>
                  <a:cubicBezTo>
                    <a:pt x="3259" y="7887"/>
                    <a:pt x="3339" y="7855"/>
                    <a:pt x="3434" y="7791"/>
                  </a:cubicBezTo>
                  <a:cubicBezTo>
                    <a:pt x="3497" y="7791"/>
                    <a:pt x="3596" y="7781"/>
                    <a:pt x="3682" y="7781"/>
                  </a:cubicBezTo>
                  <a:cubicBezTo>
                    <a:pt x="3747" y="7781"/>
                    <a:pt x="3804" y="7787"/>
                    <a:pt x="3831" y="7808"/>
                  </a:cubicBezTo>
                  <a:cubicBezTo>
                    <a:pt x="3990" y="7935"/>
                    <a:pt x="4325" y="7887"/>
                    <a:pt x="4435" y="8062"/>
                  </a:cubicBezTo>
                  <a:cubicBezTo>
                    <a:pt x="4308" y="8221"/>
                    <a:pt x="4198" y="8380"/>
                    <a:pt x="4054" y="8523"/>
                  </a:cubicBezTo>
                  <a:cubicBezTo>
                    <a:pt x="4007" y="8586"/>
                    <a:pt x="3911" y="8618"/>
                    <a:pt x="3848" y="8650"/>
                  </a:cubicBezTo>
                  <a:lnTo>
                    <a:pt x="3163" y="8650"/>
                  </a:lnTo>
                  <a:cubicBezTo>
                    <a:pt x="3132" y="8603"/>
                    <a:pt x="3116" y="8554"/>
                    <a:pt x="3085" y="8523"/>
                  </a:cubicBezTo>
                  <a:cubicBezTo>
                    <a:pt x="3069" y="8522"/>
                    <a:pt x="3054" y="8521"/>
                    <a:pt x="3040" y="8521"/>
                  </a:cubicBezTo>
                  <a:cubicBezTo>
                    <a:pt x="2862" y="8521"/>
                    <a:pt x="2862" y="8611"/>
                    <a:pt x="2862" y="8713"/>
                  </a:cubicBezTo>
                  <a:cubicBezTo>
                    <a:pt x="3053" y="8825"/>
                    <a:pt x="3259" y="8936"/>
                    <a:pt x="3481" y="9048"/>
                  </a:cubicBezTo>
                  <a:cubicBezTo>
                    <a:pt x="3629" y="8974"/>
                    <a:pt x="3717" y="8938"/>
                    <a:pt x="3788" y="8938"/>
                  </a:cubicBezTo>
                  <a:cubicBezTo>
                    <a:pt x="3854" y="8938"/>
                    <a:pt x="3905" y="8970"/>
                    <a:pt x="3975" y="9031"/>
                  </a:cubicBezTo>
                  <a:lnTo>
                    <a:pt x="3975" y="9286"/>
                  </a:lnTo>
                  <a:cubicBezTo>
                    <a:pt x="3927" y="9381"/>
                    <a:pt x="3672" y="9398"/>
                    <a:pt x="3848" y="9525"/>
                  </a:cubicBezTo>
                  <a:lnTo>
                    <a:pt x="4308" y="9525"/>
                  </a:lnTo>
                  <a:cubicBezTo>
                    <a:pt x="4372" y="9477"/>
                    <a:pt x="4452" y="9430"/>
                    <a:pt x="4531" y="9381"/>
                  </a:cubicBezTo>
                  <a:lnTo>
                    <a:pt x="4881" y="9381"/>
                  </a:lnTo>
                  <a:cubicBezTo>
                    <a:pt x="4897" y="9254"/>
                    <a:pt x="4897" y="9112"/>
                    <a:pt x="4897" y="8968"/>
                  </a:cubicBezTo>
                  <a:cubicBezTo>
                    <a:pt x="5008" y="8968"/>
                    <a:pt x="5103" y="8953"/>
                    <a:pt x="5230" y="8936"/>
                  </a:cubicBezTo>
                  <a:cubicBezTo>
                    <a:pt x="5262" y="9000"/>
                    <a:pt x="5294" y="9063"/>
                    <a:pt x="5342" y="9143"/>
                  </a:cubicBezTo>
                  <a:lnTo>
                    <a:pt x="4961" y="9381"/>
                  </a:lnTo>
                  <a:lnTo>
                    <a:pt x="4881" y="9381"/>
                  </a:lnTo>
                  <a:cubicBezTo>
                    <a:pt x="4834" y="9493"/>
                    <a:pt x="5040" y="9525"/>
                    <a:pt x="5088" y="9604"/>
                  </a:cubicBezTo>
                  <a:lnTo>
                    <a:pt x="5088" y="10034"/>
                  </a:lnTo>
                  <a:cubicBezTo>
                    <a:pt x="4976" y="10097"/>
                    <a:pt x="4865" y="10161"/>
                    <a:pt x="4753" y="10240"/>
                  </a:cubicBezTo>
                  <a:cubicBezTo>
                    <a:pt x="4675" y="10144"/>
                    <a:pt x="4611" y="10049"/>
                    <a:pt x="4531" y="9938"/>
                  </a:cubicBezTo>
                  <a:cubicBezTo>
                    <a:pt x="4420" y="9954"/>
                    <a:pt x="4325" y="9970"/>
                    <a:pt x="4181" y="9985"/>
                  </a:cubicBezTo>
                  <a:cubicBezTo>
                    <a:pt x="4276" y="10065"/>
                    <a:pt x="4340" y="10113"/>
                    <a:pt x="4404" y="10161"/>
                  </a:cubicBezTo>
                  <a:cubicBezTo>
                    <a:pt x="4308" y="10240"/>
                    <a:pt x="4134" y="10320"/>
                    <a:pt x="4213" y="10462"/>
                  </a:cubicBezTo>
                  <a:cubicBezTo>
                    <a:pt x="4276" y="10494"/>
                    <a:pt x="4340" y="10558"/>
                    <a:pt x="4420" y="10606"/>
                  </a:cubicBezTo>
                  <a:cubicBezTo>
                    <a:pt x="4181" y="10685"/>
                    <a:pt x="3880" y="10733"/>
                    <a:pt x="3752" y="10908"/>
                  </a:cubicBezTo>
                  <a:cubicBezTo>
                    <a:pt x="3704" y="11067"/>
                    <a:pt x="3863" y="11242"/>
                    <a:pt x="3625" y="11401"/>
                  </a:cubicBezTo>
                  <a:cubicBezTo>
                    <a:pt x="3418" y="11194"/>
                    <a:pt x="3195" y="11003"/>
                    <a:pt x="2989" y="10812"/>
                  </a:cubicBezTo>
                  <a:cubicBezTo>
                    <a:pt x="2894" y="10876"/>
                    <a:pt x="2845" y="10908"/>
                    <a:pt x="2782" y="10939"/>
                  </a:cubicBezTo>
                  <a:cubicBezTo>
                    <a:pt x="2559" y="10844"/>
                    <a:pt x="2496" y="10844"/>
                    <a:pt x="2258" y="10844"/>
                  </a:cubicBezTo>
                  <a:cubicBezTo>
                    <a:pt x="2209" y="10939"/>
                    <a:pt x="2162" y="11019"/>
                    <a:pt x="2114" y="11115"/>
                  </a:cubicBezTo>
                  <a:cubicBezTo>
                    <a:pt x="1987" y="11098"/>
                    <a:pt x="1891" y="11083"/>
                    <a:pt x="1813" y="11083"/>
                  </a:cubicBezTo>
                  <a:cubicBezTo>
                    <a:pt x="1749" y="10971"/>
                    <a:pt x="1717" y="10892"/>
                    <a:pt x="1669" y="10812"/>
                  </a:cubicBezTo>
                  <a:cubicBezTo>
                    <a:pt x="1629" y="10820"/>
                    <a:pt x="1594" y="10823"/>
                    <a:pt x="1561" y="10823"/>
                  </a:cubicBezTo>
                  <a:cubicBezTo>
                    <a:pt x="1384" y="10823"/>
                    <a:pt x="1297" y="10726"/>
                    <a:pt x="1177" y="10685"/>
                  </a:cubicBezTo>
                  <a:cubicBezTo>
                    <a:pt x="1177" y="10685"/>
                    <a:pt x="1128" y="10717"/>
                    <a:pt x="1065" y="10765"/>
                  </a:cubicBezTo>
                  <a:cubicBezTo>
                    <a:pt x="1383" y="10988"/>
                    <a:pt x="795" y="11083"/>
                    <a:pt x="859" y="11306"/>
                  </a:cubicBezTo>
                  <a:cubicBezTo>
                    <a:pt x="954" y="11401"/>
                    <a:pt x="1160" y="11465"/>
                    <a:pt x="1081" y="11607"/>
                  </a:cubicBezTo>
                  <a:cubicBezTo>
                    <a:pt x="986" y="11671"/>
                    <a:pt x="874" y="11734"/>
                    <a:pt x="763" y="11814"/>
                  </a:cubicBezTo>
                  <a:cubicBezTo>
                    <a:pt x="645" y="11775"/>
                    <a:pt x="571" y="11671"/>
                    <a:pt x="415" y="11671"/>
                  </a:cubicBezTo>
                  <a:cubicBezTo>
                    <a:pt x="381" y="11671"/>
                    <a:pt x="344" y="11676"/>
                    <a:pt x="301" y="11687"/>
                  </a:cubicBezTo>
                  <a:cubicBezTo>
                    <a:pt x="206" y="11798"/>
                    <a:pt x="111" y="11925"/>
                    <a:pt x="0" y="12069"/>
                  </a:cubicBezTo>
                  <a:cubicBezTo>
                    <a:pt x="111" y="12132"/>
                    <a:pt x="223" y="12196"/>
                    <a:pt x="318" y="12243"/>
                  </a:cubicBezTo>
                  <a:cubicBezTo>
                    <a:pt x="430" y="12172"/>
                    <a:pt x="536" y="12100"/>
                    <a:pt x="652" y="12100"/>
                  </a:cubicBezTo>
                  <a:cubicBezTo>
                    <a:pt x="716" y="12100"/>
                    <a:pt x="784" y="12123"/>
                    <a:pt x="859" y="12179"/>
                  </a:cubicBezTo>
                  <a:lnTo>
                    <a:pt x="859" y="12323"/>
                  </a:lnTo>
                  <a:cubicBezTo>
                    <a:pt x="651" y="12434"/>
                    <a:pt x="318" y="12419"/>
                    <a:pt x="223" y="12625"/>
                  </a:cubicBezTo>
                  <a:cubicBezTo>
                    <a:pt x="286" y="12673"/>
                    <a:pt x="333" y="12705"/>
                    <a:pt x="382" y="12737"/>
                  </a:cubicBezTo>
                  <a:cubicBezTo>
                    <a:pt x="333" y="12800"/>
                    <a:pt x="270" y="12864"/>
                    <a:pt x="223" y="12927"/>
                  </a:cubicBezTo>
                  <a:cubicBezTo>
                    <a:pt x="382" y="12959"/>
                    <a:pt x="509" y="12991"/>
                    <a:pt x="668" y="13023"/>
                  </a:cubicBezTo>
                  <a:cubicBezTo>
                    <a:pt x="588" y="13197"/>
                    <a:pt x="715" y="13356"/>
                    <a:pt x="572" y="13515"/>
                  </a:cubicBezTo>
                  <a:cubicBezTo>
                    <a:pt x="524" y="13547"/>
                    <a:pt x="477" y="13579"/>
                    <a:pt x="413" y="13610"/>
                  </a:cubicBezTo>
                  <a:lnTo>
                    <a:pt x="413" y="13977"/>
                  </a:lnTo>
                  <a:cubicBezTo>
                    <a:pt x="524" y="14024"/>
                    <a:pt x="715" y="14104"/>
                    <a:pt x="874" y="14183"/>
                  </a:cubicBezTo>
                  <a:lnTo>
                    <a:pt x="874" y="14692"/>
                  </a:lnTo>
                  <a:cubicBezTo>
                    <a:pt x="1128" y="15090"/>
                    <a:pt x="1414" y="15376"/>
                    <a:pt x="1940" y="15471"/>
                  </a:cubicBezTo>
                  <a:cubicBezTo>
                    <a:pt x="2035" y="15582"/>
                    <a:pt x="1891" y="15709"/>
                    <a:pt x="2082" y="15836"/>
                  </a:cubicBezTo>
                  <a:cubicBezTo>
                    <a:pt x="2178" y="15836"/>
                    <a:pt x="2321" y="15836"/>
                    <a:pt x="2464" y="15853"/>
                  </a:cubicBezTo>
                  <a:cubicBezTo>
                    <a:pt x="2527" y="15853"/>
                    <a:pt x="2576" y="15900"/>
                    <a:pt x="2639" y="15917"/>
                  </a:cubicBezTo>
                  <a:cubicBezTo>
                    <a:pt x="2639" y="15995"/>
                    <a:pt x="2639" y="16059"/>
                    <a:pt x="2623" y="16107"/>
                  </a:cubicBezTo>
                  <a:cubicBezTo>
                    <a:pt x="2598" y="16115"/>
                    <a:pt x="2577" y="16118"/>
                    <a:pt x="2558" y="16118"/>
                  </a:cubicBezTo>
                  <a:cubicBezTo>
                    <a:pt x="2452" y="16118"/>
                    <a:pt x="2413" y="16022"/>
                    <a:pt x="2305" y="15995"/>
                  </a:cubicBezTo>
                  <a:cubicBezTo>
                    <a:pt x="2114" y="16123"/>
                    <a:pt x="1923" y="16235"/>
                    <a:pt x="1749" y="16345"/>
                  </a:cubicBezTo>
                  <a:lnTo>
                    <a:pt x="1749" y="16631"/>
                  </a:lnTo>
                  <a:cubicBezTo>
                    <a:pt x="1940" y="16759"/>
                    <a:pt x="2131" y="16871"/>
                    <a:pt x="2241" y="16949"/>
                  </a:cubicBezTo>
                  <a:cubicBezTo>
                    <a:pt x="2334" y="16986"/>
                    <a:pt x="2421" y="16992"/>
                    <a:pt x="2502" y="16992"/>
                  </a:cubicBezTo>
                  <a:cubicBezTo>
                    <a:pt x="2542" y="16992"/>
                    <a:pt x="2581" y="16991"/>
                    <a:pt x="2617" y="16991"/>
                  </a:cubicBezTo>
                  <a:cubicBezTo>
                    <a:pt x="2698" y="16991"/>
                    <a:pt x="2770" y="16998"/>
                    <a:pt x="2830" y="17045"/>
                  </a:cubicBezTo>
                  <a:cubicBezTo>
                    <a:pt x="2862" y="17157"/>
                    <a:pt x="2877" y="17267"/>
                    <a:pt x="2894" y="17379"/>
                  </a:cubicBezTo>
                  <a:cubicBezTo>
                    <a:pt x="2973" y="17415"/>
                    <a:pt x="3056" y="17425"/>
                    <a:pt x="3139" y="17425"/>
                  </a:cubicBezTo>
                  <a:cubicBezTo>
                    <a:pt x="3239" y="17425"/>
                    <a:pt x="3339" y="17411"/>
                    <a:pt x="3434" y="17411"/>
                  </a:cubicBezTo>
                  <a:cubicBezTo>
                    <a:pt x="3542" y="17346"/>
                    <a:pt x="3642" y="17267"/>
                    <a:pt x="3765" y="17267"/>
                  </a:cubicBezTo>
                  <a:cubicBezTo>
                    <a:pt x="3823" y="17267"/>
                    <a:pt x="3887" y="17285"/>
                    <a:pt x="3958" y="17331"/>
                  </a:cubicBezTo>
                  <a:cubicBezTo>
                    <a:pt x="3975" y="17411"/>
                    <a:pt x="3990" y="17475"/>
                    <a:pt x="4022" y="17538"/>
                  </a:cubicBezTo>
                  <a:cubicBezTo>
                    <a:pt x="4149" y="17554"/>
                    <a:pt x="4245" y="17570"/>
                    <a:pt x="4357" y="17602"/>
                  </a:cubicBezTo>
                  <a:cubicBezTo>
                    <a:pt x="4516" y="17840"/>
                    <a:pt x="4643" y="18111"/>
                    <a:pt x="4865" y="18221"/>
                  </a:cubicBezTo>
                  <a:cubicBezTo>
                    <a:pt x="5152" y="18333"/>
                    <a:pt x="5342" y="18221"/>
                    <a:pt x="5533" y="18365"/>
                  </a:cubicBezTo>
                  <a:cubicBezTo>
                    <a:pt x="5421" y="18444"/>
                    <a:pt x="5167" y="18524"/>
                    <a:pt x="5406" y="18715"/>
                  </a:cubicBezTo>
                  <a:cubicBezTo>
                    <a:pt x="5501" y="18715"/>
                    <a:pt x="5629" y="18698"/>
                    <a:pt x="5739" y="18683"/>
                  </a:cubicBezTo>
                  <a:cubicBezTo>
                    <a:pt x="5756" y="18285"/>
                    <a:pt x="5756" y="18285"/>
                    <a:pt x="5898" y="18174"/>
                  </a:cubicBezTo>
                  <a:cubicBezTo>
                    <a:pt x="6057" y="18270"/>
                    <a:pt x="5930" y="18397"/>
                    <a:pt x="5978" y="18508"/>
                  </a:cubicBezTo>
                  <a:cubicBezTo>
                    <a:pt x="6057" y="18556"/>
                    <a:pt x="6137" y="18603"/>
                    <a:pt x="6201" y="18651"/>
                  </a:cubicBezTo>
                  <a:cubicBezTo>
                    <a:pt x="6233" y="18826"/>
                    <a:pt x="6089" y="19001"/>
                    <a:pt x="6328" y="19160"/>
                  </a:cubicBezTo>
                  <a:lnTo>
                    <a:pt x="6996" y="19160"/>
                  </a:lnTo>
                  <a:cubicBezTo>
                    <a:pt x="7091" y="19224"/>
                    <a:pt x="7138" y="19255"/>
                    <a:pt x="7202" y="19287"/>
                  </a:cubicBezTo>
                  <a:lnTo>
                    <a:pt x="7632" y="19287"/>
                  </a:lnTo>
                  <a:cubicBezTo>
                    <a:pt x="7727" y="19334"/>
                    <a:pt x="7806" y="19383"/>
                    <a:pt x="7886" y="19446"/>
                  </a:cubicBezTo>
                  <a:lnTo>
                    <a:pt x="8236" y="19446"/>
                  </a:lnTo>
                  <a:cubicBezTo>
                    <a:pt x="8490" y="19525"/>
                    <a:pt x="8681" y="19589"/>
                    <a:pt x="8840" y="19637"/>
                  </a:cubicBezTo>
                  <a:cubicBezTo>
                    <a:pt x="8872" y="19716"/>
                    <a:pt x="8887" y="19780"/>
                    <a:pt x="8904" y="19828"/>
                  </a:cubicBezTo>
                  <a:cubicBezTo>
                    <a:pt x="9063" y="19875"/>
                    <a:pt x="9190" y="19891"/>
                    <a:pt x="9317" y="19923"/>
                  </a:cubicBezTo>
                  <a:lnTo>
                    <a:pt x="9317" y="20225"/>
                  </a:lnTo>
                  <a:cubicBezTo>
                    <a:pt x="9413" y="20305"/>
                    <a:pt x="9523" y="20368"/>
                    <a:pt x="9667" y="20464"/>
                  </a:cubicBezTo>
                  <a:lnTo>
                    <a:pt x="10335" y="20464"/>
                  </a:lnTo>
                  <a:cubicBezTo>
                    <a:pt x="10430" y="20511"/>
                    <a:pt x="10477" y="20559"/>
                    <a:pt x="10526" y="20591"/>
                  </a:cubicBezTo>
                  <a:cubicBezTo>
                    <a:pt x="10604" y="20543"/>
                    <a:pt x="10685" y="20496"/>
                    <a:pt x="10780" y="20432"/>
                  </a:cubicBezTo>
                  <a:cubicBezTo>
                    <a:pt x="11050" y="20782"/>
                    <a:pt x="11686" y="20782"/>
                    <a:pt x="12084" y="21004"/>
                  </a:cubicBezTo>
                  <a:cubicBezTo>
                    <a:pt x="12110" y="21020"/>
                    <a:pt x="12151" y="21025"/>
                    <a:pt x="12198" y="21025"/>
                  </a:cubicBezTo>
                  <a:cubicBezTo>
                    <a:pt x="12294" y="21025"/>
                    <a:pt x="12417" y="21004"/>
                    <a:pt x="12512" y="21004"/>
                  </a:cubicBezTo>
                  <a:cubicBezTo>
                    <a:pt x="12671" y="21115"/>
                    <a:pt x="12830" y="21210"/>
                    <a:pt x="12989" y="21306"/>
                  </a:cubicBezTo>
                  <a:lnTo>
                    <a:pt x="14310" y="21306"/>
                  </a:lnTo>
                  <a:cubicBezTo>
                    <a:pt x="14373" y="21338"/>
                    <a:pt x="14420" y="21386"/>
                    <a:pt x="14501" y="21433"/>
                  </a:cubicBezTo>
                  <a:lnTo>
                    <a:pt x="15677" y="21433"/>
                  </a:lnTo>
                  <a:lnTo>
                    <a:pt x="15868" y="21306"/>
                  </a:lnTo>
                  <a:lnTo>
                    <a:pt x="17203" y="21306"/>
                  </a:lnTo>
                  <a:cubicBezTo>
                    <a:pt x="17282" y="21242"/>
                    <a:pt x="17346" y="21210"/>
                    <a:pt x="17394" y="21179"/>
                  </a:cubicBezTo>
                  <a:cubicBezTo>
                    <a:pt x="17537" y="21227"/>
                    <a:pt x="17680" y="21291"/>
                    <a:pt x="17808" y="21338"/>
                  </a:cubicBezTo>
                  <a:cubicBezTo>
                    <a:pt x="17935" y="21259"/>
                    <a:pt x="18014" y="21210"/>
                    <a:pt x="18094" y="21163"/>
                  </a:cubicBezTo>
                  <a:lnTo>
                    <a:pt x="19413" y="21163"/>
                  </a:lnTo>
                  <a:lnTo>
                    <a:pt x="19652" y="21020"/>
                  </a:lnTo>
                  <a:lnTo>
                    <a:pt x="19890" y="21163"/>
                  </a:lnTo>
                  <a:lnTo>
                    <a:pt x="20017" y="21163"/>
                  </a:lnTo>
                  <a:cubicBezTo>
                    <a:pt x="20129" y="21115"/>
                    <a:pt x="20256" y="21068"/>
                    <a:pt x="20399" y="21004"/>
                  </a:cubicBezTo>
                  <a:lnTo>
                    <a:pt x="21671" y="21004"/>
                  </a:lnTo>
                  <a:cubicBezTo>
                    <a:pt x="21734" y="20956"/>
                    <a:pt x="21783" y="20924"/>
                    <a:pt x="21878" y="20861"/>
                  </a:cubicBezTo>
                  <a:lnTo>
                    <a:pt x="24104" y="20861"/>
                  </a:lnTo>
                  <a:cubicBezTo>
                    <a:pt x="24199" y="20814"/>
                    <a:pt x="24246" y="20782"/>
                    <a:pt x="24295" y="20733"/>
                  </a:cubicBezTo>
                  <a:cubicBezTo>
                    <a:pt x="24549" y="20733"/>
                    <a:pt x="24804" y="20718"/>
                    <a:pt x="24994" y="20718"/>
                  </a:cubicBezTo>
                  <a:cubicBezTo>
                    <a:pt x="25090" y="20655"/>
                    <a:pt x="25153" y="20623"/>
                    <a:pt x="25200" y="20591"/>
                  </a:cubicBezTo>
                  <a:cubicBezTo>
                    <a:pt x="25280" y="20638"/>
                    <a:pt x="25359" y="20686"/>
                    <a:pt x="25423" y="20718"/>
                  </a:cubicBezTo>
                  <a:cubicBezTo>
                    <a:pt x="25503" y="20670"/>
                    <a:pt x="25582" y="20638"/>
                    <a:pt x="25646" y="20591"/>
                  </a:cubicBezTo>
                  <a:cubicBezTo>
                    <a:pt x="25741" y="20638"/>
                    <a:pt x="25821" y="20686"/>
                    <a:pt x="25885" y="20718"/>
                  </a:cubicBezTo>
                  <a:cubicBezTo>
                    <a:pt x="25964" y="20670"/>
                    <a:pt x="26012" y="20638"/>
                    <a:pt x="26107" y="20574"/>
                  </a:cubicBezTo>
                  <a:lnTo>
                    <a:pt x="28094" y="20574"/>
                  </a:lnTo>
                  <a:cubicBezTo>
                    <a:pt x="28189" y="20527"/>
                    <a:pt x="28253" y="20479"/>
                    <a:pt x="28317" y="20447"/>
                  </a:cubicBezTo>
                  <a:lnTo>
                    <a:pt x="30511" y="20447"/>
                  </a:lnTo>
                  <a:cubicBezTo>
                    <a:pt x="30543" y="20447"/>
                    <a:pt x="30574" y="20415"/>
                    <a:pt x="30591" y="20400"/>
                  </a:cubicBezTo>
                  <a:cubicBezTo>
                    <a:pt x="30655" y="20368"/>
                    <a:pt x="30702" y="20337"/>
                    <a:pt x="30750" y="20305"/>
                  </a:cubicBezTo>
                  <a:lnTo>
                    <a:pt x="33199" y="20305"/>
                  </a:lnTo>
                  <a:lnTo>
                    <a:pt x="33436" y="20161"/>
                  </a:lnTo>
                  <a:lnTo>
                    <a:pt x="33866" y="20161"/>
                  </a:lnTo>
                  <a:cubicBezTo>
                    <a:pt x="33945" y="20209"/>
                    <a:pt x="34025" y="20241"/>
                    <a:pt x="34104" y="20288"/>
                  </a:cubicBezTo>
                  <a:cubicBezTo>
                    <a:pt x="34184" y="20241"/>
                    <a:pt x="34280" y="20193"/>
                    <a:pt x="34327" y="20161"/>
                  </a:cubicBezTo>
                  <a:lnTo>
                    <a:pt x="34979" y="20161"/>
                  </a:lnTo>
                  <a:cubicBezTo>
                    <a:pt x="35090" y="20209"/>
                    <a:pt x="35154" y="20257"/>
                    <a:pt x="35217" y="20288"/>
                  </a:cubicBezTo>
                  <a:cubicBezTo>
                    <a:pt x="35297" y="20241"/>
                    <a:pt x="35361" y="20193"/>
                    <a:pt x="35424" y="20161"/>
                  </a:cubicBezTo>
                  <a:cubicBezTo>
                    <a:pt x="35727" y="20153"/>
                    <a:pt x="36032" y="20153"/>
                    <a:pt x="36333" y="20153"/>
                  </a:cubicBezTo>
                  <a:cubicBezTo>
                    <a:pt x="36633" y="20153"/>
                    <a:pt x="36927" y="20153"/>
                    <a:pt x="37205" y="20146"/>
                  </a:cubicBezTo>
                  <a:cubicBezTo>
                    <a:pt x="37316" y="20082"/>
                    <a:pt x="37364" y="20050"/>
                    <a:pt x="37428" y="20019"/>
                  </a:cubicBezTo>
                  <a:lnTo>
                    <a:pt x="38541" y="20019"/>
                  </a:lnTo>
                  <a:cubicBezTo>
                    <a:pt x="38604" y="20050"/>
                    <a:pt x="38683" y="20098"/>
                    <a:pt x="38763" y="20146"/>
                  </a:cubicBezTo>
                  <a:cubicBezTo>
                    <a:pt x="38842" y="20098"/>
                    <a:pt x="38922" y="20050"/>
                    <a:pt x="39018" y="20002"/>
                  </a:cubicBezTo>
                  <a:lnTo>
                    <a:pt x="41435" y="20002"/>
                  </a:lnTo>
                  <a:cubicBezTo>
                    <a:pt x="41498" y="19970"/>
                    <a:pt x="41545" y="19939"/>
                    <a:pt x="41641" y="19875"/>
                  </a:cubicBezTo>
                  <a:lnTo>
                    <a:pt x="43421" y="19875"/>
                  </a:lnTo>
                  <a:cubicBezTo>
                    <a:pt x="43517" y="19811"/>
                    <a:pt x="43565" y="19780"/>
                    <a:pt x="43629" y="19732"/>
                  </a:cubicBezTo>
                  <a:lnTo>
                    <a:pt x="44121" y="19732"/>
                  </a:lnTo>
                  <a:cubicBezTo>
                    <a:pt x="44185" y="19780"/>
                    <a:pt x="44248" y="19811"/>
                    <a:pt x="44312" y="19860"/>
                  </a:cubicBezTo>
                  <a:cubicBezTo>
                    <a:pt x="44375" y="19811"/>
                    <a:pt x="44455" y="19780"/>
                    <a:pt x="44551" y="19732"/>
                  </a:cubicBezTo>
                  <a:lnTo>
                    <a:pt x="44964" y="19732"/>
                  </a:lnTo>
                  <a:cubicBezTo>
                    <a:pt x="45060" y="19669"/>
                    <a:pt x="45139" y="19621"/>
                    <a:pt x="45219" y="19573"/>
                  </a:cubicBezTo>
                  <a:lnTo>
                    <a:pt x="46093" y="19573"/>
                  </a:lnTo>
                  <a:lnTo>
                    <a:pt x="46332" y="19716"/>
                  </a:lnTo>
                  <a:cubicBezTo>
                    <a:pt x="46395" y="19684"/>
                    <a:pt x="46442" y="19652"/>
                    <a:pt x="46538" y="19589"/>
                  </a:cubicBezTo>
                  <a:lnTo>
                    <a:pt x="50513" y="19589"/>
                  </a:lnTo>
                  <a:cubicBezTo>
                    <a:pt x="50640" y="19525"/>
                    <a:pt x="50720" y="19478"/>
                    <a:pt x="50767" y="19446"/>
                  </a:cubicBezTo>
                  <a:cubicBezTo>
                    <a:pt x="50879" y="19493"/>
                    <a:pt x="50943" y="19542"/>
                    <a:pt x="51006" y="19573"/>
                  </a:cubicBezTo>
                  <a:cubicBezTo>
                    <a:pt x="51102" y="19510"/>
                    <a:pt x="51149" y="19478"/>
                    <a:pt x="51212" y="19430"/>
                  </a:cubicBezTo>
                  <a:lnTo>
                    <a:pt x="53423" y="19430"/>
                  </a:lnTo>
                  <a:cubicBezTo>
                    <a:pt x="53438" y="19430"/>
                    <a:pt x="53470" y="19414"/>
                    <a:pt x="53502" y="19398"/>
                  </a:cubicBezTo>
                  <a:cubicBezTo>
                    <a:pt x="53550" y="19366"/>
                    <a:pt x="53597" y="19319"/>
                    <a:pt x="53661" y="19287"/>
                  </a:cubicBezTo>
                  <a:lnTo>
                    <a:pt x="56317" y="19287"/>
                  </a:lnTo>
                  <a:cubicBezTo>
                    <a:pt x="56396" y="19239"/>
                    <a:pt x="56476" y="19192"/>
                    <a:pt x="56555" y="19160"/>
                  </a:cubicBezTo>
                  <a:lnTo>
                    <a:pt x="56984" y="19160"/>
                  </a:lnTo>
                  <a:cubicBezTo>
                    <a:pt x="57080" y="19207"/>
                    <a:pt x="57143" y="19239"/>
                    <a:pt x="57222" y="19287"/>
                  </a:cubicBezTo>
                  <a:cubicBezTo>
                    <a:pt x="57318" y="19224"/>
                    <a:pt x="57398" y="19192"/>
                    <a:pt x="57493" y="19144"/>
                  </a:cubicBezTo>
                  <a:lnTo>
                    <a:pt x="58765" y="19144"/>
                  </a:lnTo>
                  <a:cubicBezTo>
                    <a:pt x="58876" y="19080"/>
                    <a:pt x="58939" y="19048"/>
                    <a:pt x="58971" y="19033"/>
                  </a:cubicBezTo>
                  <a:cubicBezTo>
                    <a:pt x="59147" y="19096"/>
                    <a:pt x="59274" y="19128"/>
                    <a:pt x="59385" y="19175"/>
                  </a:cubicBezTo>
                  <a:cubicBezTo>
                    <a:pt x="59497" y="19096"/>
                    <a:pt x="59575" y="19048"/>
                    <a:pt x="59656" y="19001"/>
                  </a:cubicBezTo>
                  <a:lnTo>
                    <a:pt x="60101" y="19001"/>
                  </a:lnTo>
                  <a:cubicBezTo>
                    <a:pt x="60180" y="19048"/>
                    <a:pt x="60260" y="19096"/>
                    <a:pt x="60323" y="19144"/>
                  </a:cubicBezTo>
                  <a:cubicBezTo>
                    <a:pt x="60419" y="19096"/>
                    <a:pt x="60498" y="19048"/>
                    <a:pt x="60578" y="19001"/>
                  </a:cubicBezTo>
                  <a:lnTo>
                    <a:pt x="62104" y="19001"/>
                  </a:lnTo>
                  <a:cubicBezTo>
                    <a:pt x="62200" y="18953"/>
                    <a:pt x="62263" y="18906"/>
                    <a:pt x="62342" y="18874"/>
                  </a:cubicBezTo>
                  <a:cubicBezTo>
                    <a:pt x="62422" y="18921"/>
                    <a:pt x="62469" y="18953"/>
                    <a:pt x="62518" y="18985"/>
                  </a:cubicBezTo>
                  <a:lnTo>
                    <a:pt x="64123" y="18985"/>
                  </a:lnTo>
                  <a:cubicBezTo>
                    <a:pt x="64203" y="18937"/>
                    <a:pt x="64250" y="18906"/>
                    <a:pt x="64314" y="18874"/>
                  </a:cubicBezTo>
                  <a:lnTo>
                    <a:pt x="66953" y="18874"/>
                  </a:lnTo>
                  <a:cubicBezTo>
                    <a:pt x="67080" y="18810"/>
                    <a:pt x="67192" y="18747"/>
                    <a:pt x="67334" y="18683"/>
                  </a:cubicBezTo>
                  <a:cubicBezTo>
                    <a:pt x="67462" y="18747"/>
                    <a:pt x="67557" y="18794"/>
                    <a:pt x="67669" y="18857"/>
                  </a:cubicBezTo>
                  <a:cubicBezTo>
                    <a:pt x="67716" y="18826"/>
                    <a:pt x="67780" y="18794"/>
                    <a:pt x="67860" y="18730"/>
                  </a:cubicBezTo>
                  <a:lnTo>
                    <a:pt x="68750" y="18730"/>
                  </a:lnTo>
                  <a:lnTo>
                    <a:pt x="68988" y="18571"/>
                  </a:lnTo>
                  <a:lnTo>
                    <a:pt x="72772" y="18571"/>
                  </a:lnTo>
                  <a:cubicBezTo>
                    <a:pt x="72852" y="18524"/>
                    <a:pt x="72916" y="18492"/>
                    <a:pt x="72995" y="18429"/>
                  </a:cubicBezTo>
                  <a:lnTo>
                    <a:pt x="74108" y="18429"/>
                  </a:lnTo>
                  <a:cubicBezTo>
                    <a:pt x="74283" y="18317"/>
                    <a:pt x="74410" y="18238"/>
                    <a:pt x="74521" y="18158"/>
                  </a:cubicBezTo>
                  <a:cubicBezTo>
                    <a:pt x="74648" y="18142"/>
                    <a:pt x="74744" y="18126"/>
                    <a:pt x="74839" y="18111"/>
                  </a:cubicBezTo>
                  <a:cubicBezTo>
                    <a:pt x="74871" y="18031"/>
                    <a:pt x="74903" y="17967"/>
                    <a:pt x="74919" y="17903"/>
                  </a:cubicBezTo>
                  <a:cubicBezTo>
                    <a:pt x="75110" y="17856"/>
                    <a:pt x="75316" y="17824"/>
                    <a:pt x="75460" y="17729"/>
                  </a:cubicBezTo>
                  <a:cubicBezTo>
                    <a:pt x="75539" y="17776"/>
                    <a:pt x="75619" y="17824"/>
                    <a:pt x="75666" y="17840"/>
                  </a:cubicBezTo>
                  <a:lnTo>
                    <a:pt x="76700" y="17840"/>
                  </a:lnTo>
                  <a:cubicBezTo>
                    <a:pt x="76970" y="17761"/>
                    <a:pt x="77145" y="17697"/>
                    <a:pt x="77351" y="17634"/>
                  </a:cubicBezTo>
                  <a:cubicBezTo>
                    <a:pt x="77319" y="17554"/>
                    <a:pt x="77288" y="17490"/>
                    <a:pt x="77256" y="17411"/>
                  </a:cubicBezTo>
                  <a:cubicBezTo>
                    <a:pt x="77160" y="17475"/>
                    <a:pt x="77082" y="17522"/>
                    <a:pt x="76986" y="17570"/>
                  </a:cubicBezTo>
                  <a:lnTo>
                    <a:pt x="76556" y="17570"/>
                  </a:lnTo>
                  <a:cubicBezTo>
                    <a:pt x="76382" y="17458"/>
                    <a:pt x="76414" y="17236"/>
                    <a:pt x="76159" y="17189"/>
                  </a:cubicBezTo>
                  <a:cubicBezTo>
                    <a:pt x="75920" y="17125"/>
                    <a:pt x="75698" y="17061"/>
                    <a:pt x="75539" y="16918"/>
                  </a:cubicBezTo>
                  <a:cubicBezTo>
                    <a:pt x="75658" y="16866"/>
                    <a:pt x="75765" y="16846"/>
                    <a:pt x="75864" y="16846"/>
                  </a:cubicBezTo>
                  <a:cubicBezTo>
                    <a:pt x="76161" y="16846"/>
                    <a:pt x="76381" y="17025"/>
                    <a:pt x="76620" y="17061"/>
                  </a:cubicBezTo>
                  <a:cubicBezTo>
                    <a:pt x="76683" y="17157"/>
                    <a:pt x="76715" y="17220"/>
                    <a:pt x="76747" y="17284"/>
                  </a:cubicBezTo>
                  <a:cubicBezTo>
                    <a:pt x="76874" y="17267"/>
                    <a:pt x="76970" y="17267"/>
                    <a:pt x="77097" y="17252"/>
                  </a:cubicBezTo>
                  <a:cubicBezTo>
                    <a:pt x="77018" y="17157"/>
                    <a:pt x="76938" y="17093"/>
                    <a:pt x="76891" y="17013"/>
                  </a:cubicBezTo>
                  <a:cubicBezTo>
                    <a:pt x="76811" y="16934"/>
                    <a:pt x="76764" y="16839"/>
                    <a:pt x="76700" y="16759"/>
                  </a:cubicBezTo>
                  <a:cubicBezTo>
                    <a:pt x="76779" y="16695"/>
                    <a:pt x="76827" y="16663"/>
                    <a:pt x="76891" y="16631"/>
                  </a:cubicBezTo>
                  <a:lnTo>
                    <a:pt x="76891" y="16489"/>
                  </a:lnTo>
                  <a:cubicBezTo>
                    <a:pt x="76700" y="16362"/>
                    <a:pt x="76334" y="16394"/>
                    <a:pt x="76238" y="16171"/>
                  </a:cubicBezTo>
                  <a:cubicBezTo>
                    <a:pt x="76308" y="16136"/>
                    <a:pt x="76384" y="16128"/>
                    <a:pt x="76473" y="16128"/>
                  </a:cubicBezTo>
                  <a:cubicBezTo>
                    <a:pt x="76539" y="16128"/>
                    <a:pt x="76611" y="16132"/>
                    <a:pt x="76693" y="16132"/>
                  </a:cubicBezTo>
                  <a:cubicBezTo>
                    <a:pt x="76754" y="16132"/>
                    <a:pt x="76819" y="16130"/>
                    <a:pt x="76891" y="16123"/>
                  </a:cubicBezTo>
                  <a:cubicBezTo>
                    <a:pt x="77033" y="16012"/>
                    <a:pt x="77241" y="15836"/>
                    <a:pt x="77478" y="15662"/>
                  </a:cubicBezTo>
                  <a:cubicBezTo>
                    <a:pt x="77654" y="15726"/>
                    <a:pt x="77813" y="15789"/>
                    <a:pt x="77908" y="15836"/>
                  </a:cubicBezTo>
                  <a:lnTo>
                    <a:pt x="78591" y="15836"/>
                  </a:lnTo>
                  <a:cubicBezTo>
                    <a:pt x="78640" y="15726"/>
                    <a:pt x="78687" y="15646"/>
                    <a:pt x="78750" y="15535"/>
                  </a:cubicBezTo>
                  <a:cubicBezTo>
                    <a:pt x="78846" y="15662"/>
                    <a:pt x="78909" y="15741"/>
                    <a:pt x="78990" y="15853"/>
                  </a:cubicBezTo>
                  <a:cubicBezTo>
                    <a:pt x="79100" y="15836"/>
                    <a:pt x="79196" y="15821"/>
                    <a:pt x="79259" y="15821"/>
                  </a:cubicBezTo>
                  <a:cubicBezTo>
                    <a:pt x="79498" y="15614"/>
                    <a:pt x="79021" y="15535"/>
                    <a:pt x="79117" y="15359"/>
                  </a:cubicBezTo>
                  <a:lnTo>
                    <a:pt x="79323" y="15153"/>
                  </a:lnTo>
                  <a:cubicBezTo>
                    <a:pt x="79085" y="15137"/>
                    <a:pt x="78909" y="15122"/>
                    <a:pt x="78750" y="15105"/>
                  </a:cubicBezTo>
                  <a:cubicBezTo>
                    <a:pt x="78713" y="15093"/>
                    <a:pt x="78694" y="15049"/>
                    <a:pt x="78589" y="15049"/>
                  </a:cubicBezTo>
                  <a:cubicBezTo>
                    <a:pt x="78571" y="15049"/>
                    <a:pt x="78549" y="15051"/>
                    <a:pt x="78524" y="15054"/>
                  </a:cubicBezTo>
                  <a:lnTo>
                    <a:pt x="78524" y="15054"/>
                  </a:lnTo>
                  <a:cubicBezTo>
                    <a:pt x="78848" y="15002"/>
                    <a:pt x="78881" y="14867"/>
                    <a:pt x="79005" y="14851"/>
                  </a:cubicBezTo>
                  <a:cubicBezTo>
                    <a:pt x="79085" y="14882"/>
                    <a:pt x="79164" y="14931"/>
                    <a:pt x="79227" y="14978"/>
                  </a:cubicBezTo>
                  <a:cubicBezTo>
                    <a:pt x="79403" y="14867"/>
                    <a:pt x="79291" y="14740"/>
                    <a:pt x="79339" y="14628"/>
                  </a:cubicBezTo>
                  <a:cubicBezTo>
                    <a:pt x="79037" y="14533"/>
                    <a:pt x="78735" y="14422"/>
                    <a:pt x="78432" y="14327"/>
                  </a:cubicBezTo>
                  <a:cubicBezTo>
                    <a:pt x="77877" y="14136"/>
                    <a:pt x="77559" y="13960"/>
                    <a:pt x="77606" y="13865"/>
                  </a:cubicBezTo>
                  <a:cubicBezTo>
                    <a:pt x="77670" y="13831"/>
                    <a:pt x="77725" y="13818"/>
                    <a:pt x="77773" y="13818"/>
                  </a:cubicBezTo>
                  <a:cubicBezTo>
                    <a:pt x="77927" y="13818"/>
                    <a:pt x="78014" y="13953"/>
                    <a:pt x="78146" y="13977"/>
                  </a:cubicBezTo>
                  <a:cubicBezTo>
                    <a:pt x="78179" y="13972"/>
                    <a:pt x="78213" y="13971"/>
                    <a:pt x="78248" y="13971"/>
                  </a:cubicBezTo>
                  <a:cubicBezTo>
                    <a:pt x="78359" y="13971"/>
                    <a:pt x="78475" y="13988"/>
                    <a:pt x="78587" y="13988"/>
                  </a:cubicBezTo>
                  <a:cubicBezTo>
                    <a:pt x="78691" y="13988"/>
                    <a:pt x="78792" y="13973"/>
                    <a:pt x="78878" y="13913"/>
                  </a:cubicBezTo>
                  <a:cubicBezTo>
                    <a:pt x="78862" y="13833"/>
                    <a:pt x="78973" y="13722"/>
                    <a:pt x="78735" y="13706"/>
                  </a:cubicBezTo>
                  <a:cubicBezTo>
                    <a:pt x="78687" y="13754"/>
                    <a:pt x="78623" y="13786"/>
                    <a:pt x="78544" y="13833"/>
                  </a:cubicBezTo>
                  <a:cubicBezTo>
                    <a:pt x="78432" y="13769"/>
                    <a:pt x="78305" y="13706"/>
                    <a:pt x="78242" y="13674"/>
                  </a:cubicBezTo>
                  <a:cubicBezTo>
                    <a:pt x="78354" y="13500"/>
                    <a:pt x="78417" y="13404"/>
                    <a:pt x="78496" y="13292"/>
                  </a:cubicBezTo>
                  <a:cubicBezTo>
                    <a:pt x="78767" y="13261"/>
                    <a:pt x="79005" y="13165"/>
                    <a:pt x="79227" y="13086"/>
                  </a:cubicBezTo>
                  <a:cubicBezTo>
                    <a:pt x="79498" y="12991"/>
                    <a:pt x="79689" y="12800"/>
                    <a:pt x="79991" y="12752"/>
                  </a:cubicBezTo>
                  <a:cubicBezTo>
                    <a:pt x="80007" y="12688"/>
                    <a:pt x="80007" y="12656"/>
                    <a:pt x="80007" y="12609"/>
                  </a:cubicBezTo>
                  <a:cubicBezTo>
                    <a:pt x="80198" y="12482"/>
                    <a:pt x="80372" y="12370"/>
                    <a:pt x="80548" y="12243"/>
                  </a:cubicBezTo>
                  <a:lnTo>
                    <a:pt x="80802" y="12243"/>
                  </a:lnTo>
                  <a:cubicBezTo>
                    <a:pt x="80849" y="12164"/>
                    <a:pt x="80898" y="12084"/>
                    <a:pt x="80929" y="12005"/>
                  </a:cubicBezTo>
                  <a:cubicBezTo>
                    <a:pt x="81057" y="11973"/>
                    <a:pt x="81199" y="11942"/>
                    <a:pt x="81311" y="11925"/>
                  </a:cubicBezTo>
                  <a:cubicBezTo>
                    <a:pt x="81326" y="11862"/>
                    <a:pt x="81326" y="11814"/>
                    <a:pt x="81326" y="11766"/>
                  </a:cubicBezTo>
                  <a:cubicBezTo>
                    <a:pt x="81263" y="11703"/>
                    <a:pt x="81184" y="11655"/>
                    <a:pt x="81104" y="11607"/>
                  </a:cubicBezTo>
                  <a:lnTo>
                    <a:pt x="81104" y="11321"/>
                  </a:lnTo>
                  <a:cubicBezTo>
                    <a:pt x="81184" y="11274"/>
                    <a:pt x="81263" y="11226"/>
                    <a:pt x="81326" y="11178"/>
                  </a:cubicBezTo>
                  <a:lnTo>
                    <a:pt x="81326" y="10892"/>
                  </a:lnTo>
                  <a:cubicBezTo>
                    <a:pt x="81247" y="10829"/>
                    <a:pt x="81184" y="10780"/>
                    <a:pt x="81120" y="10733"/>
                  </a:cubicBezTo>
                  <a:cubicBezTo>
                    <a:pt x="81184" y="10701"/>
                    <a:pt x="81231" y="10670"/>
                    <a:pt x="81294" y="10621"/>
                  </a:cubicBezTo>
                  <a:lnTo>
                    <a:pt x="80770" y="9954"/>
                  </a:lnTo>
                  <a:cubicBezTo>
                    <a:pt x="80722" y="10002"/>
                    <a:pt x="80690" y="10049"/>
                    <a:pt x="80658" y="10081"/>
                  </a:cubicBezTo>
                  <a:cubicBezTo>
                    <a:pt x="80627" y="10129"/>
                    <a:pt x="80595" y="10176"/>
                    <a:pt x="80548" y="10240"/>
                  </a:cubicBezTo>
                  <a:cubicBezTo>
                    <a:pt x="80325" y="10065"/>
                    <a:pt x="80563" y="9843"/>
                    <a:pt x="80357" y="9667"/>
                  </a:cubicBezTo>
                  <a:lnTo>
                    <a:pt x="80357" y="9667"/>
                  </a:lnTo>
                  <a:cubicBezTo>
                    <a:pt x="80277" y="9716"/>
                    <a:pt x="80198" y="9747"/>
                    <a:pt x="80071" y="9826"/>
                  </a:cubicBezTo>
                  <a:cubicBezTo>
                    <a:pt x="80022" y="9572"/>
                    <a:pt x="79673" y="9413"/>
                    <a:pt x="79753" y="9143"/>
                  </a:cubicBezTo>
                  <a:cubicBezTo>
                    <a:pt x="79562" y="9080"/>
                    <a:pt x="79323" y="9080"/>
                    <a:pt x="79180" y="8936"/>
                  </a:cubicBezTo>
                  <a:cubicBezTo>
                    <a:pt x="79129" y="8951"/>
                    <a:pt x="79075" y="8955"/>
                    <a:pt x="79019" y="8955"/>
                  </a:cubicBezTo>
                  <a:cubicBezTo>
                    <a:pt x="78932" y="8955"/>
                    <a:pt x="78840" y="8944"/>
                    <a:pt x="78749" y="8944"/>
                  </a:cubicBezTo>
                  <a:cubicBezTo>
                    <a:pt x="78647" y="8944"/>
                    <a:pt x="78545" y="8958"/>
                    <a:pt x="78449" y="9016"/>
                  </a:cubicBezTo>
                  <a:cubicBezTo>
                    <a:pt x="78513" y="9063"/>
                    <a:pt x="78576" y="9112"/>
                    <a:pt x="78655" y="9159"/>
                  </a:cubicBezTo>
                  <a:cubicBezTo>
                    <a:pt x="78587" y="9212"/>
                    <a:pt x="78518" y="9236"/>
                    <a:pt x="78449" y="9236"/>
                  </a:cubicBezTo>
                  <a:cubicBezTo>
                    <a:pt x="78375" y="9236"/>
                    <a:pt x="78300" y="9208"/>
                    <a:pt x="78226" y="9159"/>
                  </a:cubicBezTo>
                  <a:lnTo>
                    <a:pt x="78226" y="8809"/>
                  </a:lnTo>
                  <a:lnTo>
                    <a:pt x="77892" y="8809"/>
                  </a:lnTo>
                  <a:lnTo>
                    <a:pt x="77654" y="8953"/>
                  </a:lnTo>
                  <a:cubicBezTo>
                    <a:pt x="77623" y="8959"/>
                    <a:pt x="77595" y="8962"/>
                    <a:pt x="77569" y="8962"/>
                  </a:cubicBezTo>
                  <a:cubicBezTo>
                    <a:pt x="77408" y="8962"/>
                    <a:pt x="77329" y="8850"/>
                    <a:pt x="77192" y="8809"/>
                  </a:cubicBezTo>
                  <a:cubicBezTo>
                    <a:pt x="77110" y="8879"/>
                    <a:pt x="77028" y="8950"/>
                    <a:pt x="76887" y="8950"/>
                  </a:cubicBezTo>
                  <a:cubicBezTo>
                    <a:pt x="76838" y="8950"/>
                    <a:pt x="76781" y="8941"/>
                    <a:pt x="76715" y="8921"/>
                  </a:cubicBezTo>
                  <a:cubicBezTo>
                    <a:pt x="76700" y="8872"/>
                    <a:pt x="76668" y="8809"/>
                    <a:pt x="76652" y="8745"/>
                  </a:cubicBezTo>
                  <a:cubicBezTo>
                    <a:pt x="76715" y="8713"/>
                    <a:pt x="76764" y="8666"/>
                    <a:pt x="76827" y="8666"/>
                  </a:cubicBezTo>
                  <a:cubicBezTo>
                    <a:pt x="76970" y="8650"/>
                    <a:pt x="77129" y="8650"/>
                    <a:pt x="77113" y="8539"/>
                  </a:cubicBezTo>
                  <a:lnTo>
                    <a:pt x="77113" y="8539"/>
                  </a:lnTo>
                  <a:cubicBezTo>
                    <a:pt x="77224" y="8554"/>
                    <a:pt x="77336" y="8603"/>
                    <a:pt x="77495" y="8666"/>
                  </a:cubicBezTo>
                  <a:cubicBezTo>
                    <a:pt x="77590" y="8666"/>
                    <a:pt x="77721" y="8659"/>
                    <a:pt x="77858" y="8659"/>
                  </a:cubicBezTo>
                  <a:cubicBezTo>
                    <a:pt x="77927" y="8659"/>
                    <a:pt x="77998" y="8661"/>
                    <a:pt x="78067" y="8666"/>
                  </a:cubicBezTo>
                  <a:cubicBezTo>
                    <a:pt x="78163" y="8666"/>
                    <a:pt x="78242" y="8713"/>
                    <a:pt x="78226" y="8809"/>
                  </a:cubicBezTo>
                  <a:cubicBezTo>
                    <a:pt x="78449" y="8809"/>
                    <a:pt x="78496" y="8650"/>
                    <a:pt x="78782" y="8554"/>
                  </a:cubicBezTo>
                  <a:cubicBezTo>
                    <a:pt x="78226" y="8554"/>
                    <a:pt x="78036" y="8317"/>
                    <a:pt x="77781" y="8141"/>
                  </a:cubicBezTo>
                  <a:cubicBezTo>
                    <a:pt x="77813" y="8030"/>
                    <a:pt x="77701" y="7903"/>
                    <a:pt x="77877" y="7808"/>
                  </a:cubicBezTo>
                  <a:cubicBezTo>
                    <a:pt x="77940" y="7808"/>
                    <a:pt x="78019" y="7808"/>
                    <a:pt x="78114" y="7791"/>
                  </a:cubicBezTo>
                  <a:cubicBezTo>
                    <a:pt x="78210" y="7681"/>
                    <a:pt x="78305" y="7537"/>
                    <a:pt x="78432" y="7378"/>
                  </a:cubicBezTo>
                  <a:cubicBezTo>
                    <a:pt x="78226" y="7378"/>
                    <a:pt x="78051" y="7363"/>
                    <a:pt x="77877" y="7363"/>
                  </a:cubicBezTo>
                  <a:cubicBezTo>
                    <a:pt x="77796" y="7314"/>
                    <a:pt x="77733" y="7267"/>
                    <a:pt x="77669" y="7235"/>
                  </a:cubicBezTo>
                  <a:cubicBezTo>
                    <a:pt x="77542" y="7299"/>
                    <a:pt x="77415" y="7346"/>
                    <a:pt x="77319" y="7378"/>
                  </a:cubicBezTo>
                  <a:cubicBezTo>
                    <a:pt x="77177" y="7331"/>
                    <a:pt x="77065" y="7282"/>
                    <a:pt x="77018" y="7251"/>
                  </a:cubicBezTo>
                  <a:cubicBezTo>
                    <a:pt x="76842" y="7314"/>
                    <a:pt x="76715" y="7346"/>
                    <a:pt x="76556" y="7410"/>
                  </a:cubicBezTo>
                  <a:cubicBezTo>
                    <a:pt x="76334" y="7235"/>
                    <a:pt x="76111" y="7060"/>
                    <a:pt x="75969" y="6949"/>
                  </a:cubicBezTo>
                  <a:cubicBezTo>
                    <a:pt x="75879" y="6937"/>
                    <a:pt x="75797" y="6934"/>
                    <a:pt x="75719" y="6934"/>
                  </a:cubicBezTo>
                  <a:cubicBezTo>
                    <a:pt x="75625" y="6934"/>
                    <a:pt x="75539" y="6939"/>
                    <a:pt x="75458" y="6939"/>
                  </a:cubicBezTo>
                  <a:cubicBezTo>
                    <a:pt x="75332" y="6939"/>
                    <a:pt x="75219" y="6927"/>
                    <a:pt x="75110" y="6869"/>
                  </a:cubicBezTo>
                  <a:cubicBezTo>
                    <a:pt x="75301" y="6790"/>
                    <a:pt x="75507" y="6742"/>
                    <a:pt x="75666" y="6678"/>
                  </a:cubicBezTo>
                  <a:cubicBezTo>
                    <a:pt x="75810" y="6742"/>
                    <a:pt x="75937" y="6774"/>
                    <a:pt x="76047" y="6822"/>
                  </a:cubicBezTo>
                  <a:cubicBezTo>
                    <a:pt x="76159" y="6742"/>
                    <a:pt x="76238" y="6695"/>
                    <a:pt x="76334" y="6646"/>
                  </a:cubicBezTo>
                  <a:lnTo>
                    <a:pt x="76764" y="6646"/>
                  </a:lnTo>
                  <a:cubicBezTo>
                    <a:pt x="76874" y="6536"/>
                    <a:pt x="76970" y="6409"/>
                    <a:pt x="77082" y="6313"/>
                  </a:cubicBezTo>
                  <a:cubicBezTo>
                    <a:pt x="77209" y="6201"/>
                    <a:pt x="77463" y="6138"/>
                    <a:pt x="77272" y="5963"/>
                  </a:cubicBezTo>
                  <a:cubicBezTo>
                    <a:pt x="77192" y="5937"/>
                    <a:pt x="77116" y="5926"/>
                    <a:pt x="77042" y="5926"/>
                  </a:cubicBezTo>
                  <a:cubicBezTo>
                    <a:pt x="76853" y="5926"/>
                    <a:pt x="76681" y="5996"/>
                    <a:pt x="76509" y="6042"/>
                  </a:cubicBezTo>
                  <a:cubicBezTo>
                    <a:pt x="76461" y="6010"/>
                    <a:pt x="76397" y="5979"/>
                    <a:pt x="76334" y="5932"/>
                  </a:cubicBezTo>
                  <a:cubicBezTo>
                    <a:pt x="76270" y="5979"/>
                    <a:pt x="76191" y="6027"/>
                    <a:pt x="76096" y="6074"/>
                  </a:cubicBezTo>
                  <a:lnTo>
                    <a:pt x="74569" y="6074"/>
                  </a:lnTo>
                  <a:cubicBezTo>
                    <a:pt x="74538" y="6074"/>
                    <a:pt x="74506" y="6042"/>
                    <a:pt x="74489" y="6027"/>
                  </a:cubicBezTo>
                  <a:cubicBezTo>
                    <a:pt x="74362" y="5932"/>
                    <a:pt x="74092" y="5868"/>
                    <a:pt x="74283" y="5677"/>
                  </a:cubicBezTo>
                  <a:cubicBezTo>
                    <a:pt x="74458" y="5645"/>
                    <a:pt x="74665" y="5629"/>
                    <a:pt x="74871" y="5614"/>
                  </a:cubicBezTo>
                  <a:cubicBezTo>
                    <a:pt x="74871" y="5470"/>
                    <a:pt x="74935" y="5359"/>
                    <a:pt x="74807" y="5232"/>
                  </a:cubicBezTo>
                  <a:cubicBezTo>
                    <a:pt x="74585" y="5215"/>
                    <a:pt x="74330" y="5215"/>
                    <a:pt x="74092" y="5200"/>
                  </a:cubicBezTo>
                  <a:cubicBezTo>
                    <a:pt x="74029" y="5168"/>
                    <a:pt x="73981" y="5120"/>
                    <a:pt x="73917" y="5088"/>
                  </a:cubicBezTo>
                  <a:cubicBezTo>
                    <a:pt x="73798" y="5069"/>
                    <a:pt x="73676" y="5063"/>
                    <a:pt x="73552" y="5063"/>
                  </a:cubicBezTo>
                  <a:cubicBezTo>
                    <a:pt x="73365" y="5063"/>
                    <a:pt x="73173" y="5076"/>
                    <a:pt x="72978" y="5076"/>
                  </a:cubicBezTo>
                  <a:cubicBezTo>
                    <a:pt x="72784" y="5076"/>
                    <a:pt x="72587" y="5063"/>
                    <a:pt x="72391" y="5009"/>
                  </a:cubicBezTo>
                  <a:cubicBezTo>
                    <a:pt x="72598" y="4946"/>
                    <a:pt x="72740" y="4897"/>
                    <a:pt x="72884" y="4850"/>
                  </a:cubicBezTo>
                  <a:cubicBezTo>
                    <a:pt x="72884" y="4787"/>
                    <a:pt x="72899" y="4738"/>
                    <a:pt x="72899" y="4691"/>
                  </a:cubicBezTo>
                  <a:cubicBezTo>
                    <a:pt x="73043" y="4643"/>
                    <a:pt x="73186" y="4596"/>
                    <a:pt x="73329" y="4564"/>
                  </a:cubicBezTo>
                  <a:cubicBezTo>
                    <a:pt x="73361" y="4357"/>
                    <a:pt x="73122" y="4310"/>
                    <a:pt x="72995" y="4214"/>
                  </a:cubicBezTo>
                  <a:cubicBezTo>
                    <a:pt x="72916" y="4261"/>
                    <a:pt x="72836" y="4293"/>
                    <a:pt x="72789" y="4325"/>
                  </a:cubicBezTo>
                  <a:cubicBezTo>
                    <a:pt x="72645" y="4278"/>
                    <a:pt x="72534" y="4230"/>
                    <a:pt x="72439" y="4183"/>
                  </a:cubicBezTo>
                  <a:cubicBezTo>
                    <a:pt x="72280" y="4246"/>
                    <a:pt x="72185" y="4293"/>
                    <a:pt x="72073" y="4325"/>
                  </a:cubicBezTo>
                  <a:cubicBezTo>
                    <a:pt x="72009" y="4278"/>
                    <a:pt x="71962" y="4246"/>
                    <a:pt x="71867" y="4198"/>
                  </a:cubicBezTo>
                  <a:lnTo>
                    <a:pt x="70913" y="4198"/>
                  </a:lnTo>
                  <a:cubicBezTo>
                    <a:pt x="70817" y="4024"/>
                    <a:pt x="70531" y="3992"/>
                    <a:pt x="70467" y="3801"/>
                  </a:cubicBezTo>
                  <a:cubicBezTo>
                    <a:pt x="70690" y="3785"/>
                    <a:pt x="70896" y="3769"/>
                    <a:pt x="71246" y="3721"/>
                  </a:cubicBezTo>
                  <a:cubicBezTo>
                    <a:pt x="70832" y="3610"/>
                    <a:pt x="70928" y="3371"/>
                    <a:pt x="70673" y="3260"/>
                  </a:cubicBezTo>
                  <a:cubicBezTo>
                    <a:pt x="70769" y="3197"/>
                    <a:pt x="70881" y="3133"/>
                    <a:pt x="70991" y="3070"/>
                  </a:cubicBezTo>
                  <a:cubicBezTo>
                    <a:pt x="71231" y="3149"/>
                    <a:pt x="71326" y="3324"/>
                    <a:pt x="71468" y="3498"/>
                  </a:cubicBezTo>
                  <a:cubicBezTo>
                    <a:pt x="71517" y="3403"/>
                    <a:pt x="71564" y="3308"/>
                    <a:pt x="71612" y="3229"/>
                  </a:cubicBezTo>
                  <a:lnTo>
                    <a:pt x="72136" y="3180"/>
                  </a:lnTo>
                  <a:cubicBezTo>
                    <a:pt x="72344" y="3053"/>
                    <a:pt x="72518" y="2894"/>
                    <a:pt x="72820" y="2879"/>
                  </a:cubicBezTo>
                  <a:cubicBezTo>
                    <a:pt x="72874" y="2785"/>
                    <a:pt x="72981" y="2770"/>
                    <a:pt x="73097" y="2770"/>
                  </a:cubicBezTo>
                  <a:cubicBezTo>
                    <a:pt x="73152" y="2770"/>
                    <a:pt x="73208" y="2774"/>
                    <a:pt x="73262" y="2774"/>
                  </a:cubicBezTo>
                  <a:cubicBezTo>
                    <a:pt x="73368" y="2774"/>
                    <a:pt x="73465" y="2761"/>
                    <a:pt x="73520" y="2688"/>
                  </a:cubicBezTo>
                  <a:cubicBezTo>
                    <a:pt x="73448" y="2637"/>
                    <a:pt x="73369" y="2626"/>
                    <a:pt x="73287" y="2626"/>
                  </a:cubicBezTo>
                  <a:cubicBezTo>
                    <a:pt x="73225" y="2626"/>
                    <a:pt x="73161" y="2633"/>
                    <a:pt x="73097" y="2633"/>
                  </a:cubicBezTo>
                  <a:cubicBezTo>
                    <a:pt x="73063" y="2633"/>
                    <a:pt x="73028" y="2631"/>
                    <a:pt x="72995" y="2624"/>
                  </a:cubicBezTo>
                  <a:cubicBezTo>
                    <a:pt x="72916" y="2576"/>
                    <a:pt x="72836" y="2529"/>
                    <a:pt x="72645" y="2417"/>
                  </a:cubicBezTo>
                  <a:cubicBezTo>
                    <a:pt x="72534" y="2544"/>
                    <a:pt x="72439" y="2672"/>
                    <a:pt x="72312" y="2815"/>
                  </a:cubicBezTo>
                  <a:cubicBezTo>
                    <a:pt x="72136" y="2752"/>
                    <a:pt x="72009" y="2703"/>
                    <a:pt x="71882" y="2656"/>
                  </a:cubicBezTo>
                  <a:cubicBezTo>
                    <a:pt x="71771" y="2688"/>
                    <a:pt x="71627" y="2752"/>
                    <a:pt x="71500" y="2799"/>
                  </a:cubicBezTo>
                  <a:cubicBezTo>
                    <a:pt x="71373" y="2720"/>
                    <a:pt x="71294" y="2672"/>
                    <a:pt x="71231" y="2640"/>
                  </a:cubicBezTo>
                  <a:cubicBezTo>
                    <a:pt x="71119" y="2688"/>
                    <a:pt x="71008" y="2735"/>
                    <a:pt x="70896" y="2799"/>
                  </a:cubicBezTo>
                  <a:cubicBezTo>
                    <a:pt x="70737" y="2735"/>
                    <a:pt x="70642" y="2688"/>
                    <a:pt x="70531" y="2640"/>
                  </a:cubicBezTo>
                  <a:cubicBezTo>
                    <a:pt x="70451" y="2688"/>
                    <a:pt x="70372" y="2735"/>
                    <a:pt x="70245" y="2799"/>
                  </a:cubicBezTo>
                  <a:cubicBezTo>
                    <a:pt x="70101" y="2735"/>
                    <a:pt x="69959" y="2672"/>
                    <a:pt x="69815" y="2624"/>
                  </a:cubicBezTo>
                  <a:cubicBezTo>
                    <a:pt x="69789" y="2619"/>
                    <a:pt x="69762" y="2617"/>
                    <a:pt x="69734" y="2617"/>
                  </a:cubicBezTo>
                  <a:cubicBezTo>
                    <a:pt x="69671" y="2617"/>
                    <a:pt x="69605" y="2627"/>
                    <a:pt x="69543" y="2627"/>
                  </a:cubicBezTo>
                  <a:cubicBezTo>
                    <a:pt x="69464" y="2627"/>
                    <a:pt x="69390" y="2612"/>
                    <a:pt x="69338" y="2544"/>
                  </a:cubicBezTo>
                  <a:cubicBezTo>
                    <a:pt x="69450" y="2481"/>
                    <a:pt x="69560" y="2402"/>
                    <a:pt x="69656" y="2338"/>
                  </a:cubicBezTo>
                  <a:cubicBezTo>
                    <a:pt x="69736" y="2385"/>
                    <a:pt x="69815" y="2434"/>
                    <a:pt x="69910" y="2497"/>
                  </a:cubicBezTo>
                  <a:cubicBezTo>
                    <a:pt x="70006" y="2481"/>
                    <a:pt x="70101" y="2465"/>
                    <a:pt x="70213" y="2434"/>
                  </a:cubicBezTo>
                  <a:lnTo>
                    <a:pt x="70213" y="2116"/>
                  </a:lnTo>
                  <a:cubicBezTo>
                    <a:pt x="70101" y="2052"/>
                    <a:pt x="69974" y="1925"/>
                    <a:pt x="69831" y="1925"/>
                  </a:cubicBezTo>
                  <a:cubicBezTo>
                    <a:pt x="69624" y="1908"/>
                    <a:pt x="69545" y="1781"/>
                    <a:pt x="69370" y="1766"/>
                  </a:cubicBezTo>
                  <a:cubicBezTo>
                    <a:pt x="69348" y="1764"/>
                    <a:pt x="69326" y="1763"/>
                    <a:pt x="69304" y="1763"/>
                  </a:cubicBezTo>
                  <a:cubicBezTo>
                    <a:pt x="69249" y="1763"/>
                    <a:pt x="69191" y="1768"/>
                    <a:pt x="69135" y="1768"/>
                  </a:cubicBezTo>
                  <a:cubicBezTo>
                    <a:pt x="69041" y="1768"/>
                    <a:pt x="68953" y="1755"/>
                    <a:pt x="68893" y="1686"/>
                  </a:cubicBezTo>
                  <a:cubicBezTo>
                    <a:pt x="69052" y="1622"/>
                    <a:pt x="69100" y="1480"/>
                    <a:pt x="69323" y="1480"/>
                  </a:cubicBezTo>
                  <a:cubicBezTo>
                    <a:pt x="69338" y="1477"/>
                    <a:pt x="69352" y="1475"/>
                    <a:pt x="69366" y="1475"/>
                  </a:cubicBezTo>
                  <a:cubicBezTo>
                    <a:pt x="69519" y="1475"/>
                    <a:pt x="69623" y="1640"/>
                    <a:pt x="69778" y="1640"/>
                  </a:cubicBezTo>
                  <a:cubicBezTo>
                    <a:pt x="69835" y="1640"/>
                    <a:pt x="69898" y="1618"/>
                    <a:pt x="69974" y="1559"/>
                  </a:cubicBezTo>
                  <a:cubicBezTo>
                    <a:pt x="69974" y="1511"/>
                    <a:pt x="69990" y="1480"/>
                    <a:pt x="69990" y="1416"/>
                  </a:cubicBezTo>
                  <a:cubicBezTo>
                    <a:pt x="69927" y="1368"/>
                    <a:pt x="69863" y="1321"/>
                    <a:pt x="69783" y="1257"/>
                  </a:cubicBezTo>
                  <a:cubicBezTo>
                    <a:pt x="69847" y="1209"/>
                    <a:pt x="69927" y="1162"/>
                    <a:pt x="69990" y="1113"/>
                  </a:cubicBezTo>
                  <a:lnTo>
                    <a:pt x="69990" y="907"/>
                  </a:lnTo>
                  <a:cubicBezTo>
                    <a:pt x="69981" y="908"/>
                    <a:pt x="69971" y="909"/>
                    <a:pt x="69962" y="909"/>
                  </a:cubicBezTo>
                  <a:cubicBezTo>
                    <a:pt x="69809" y="909"/>
                    <a:pt x="69759" y="793"/>
                    <a:pt x="69609" y="748"/>
                  </a:cubicBezTo>
                  <a:lnTo>
                    <a:pt x="69052" y="748"/>
                  </a:lnTo>
                  <a:cubicBezTo>
                    <a:pt x="68988" y="685"/>
                    <a:pt x="68877" y="558"/>
                    <a:pt x="68814" y="477"/>
                  </a:cubicBezTo>
                  <a:lnTo>
                    <a:pt x="68098" y="477"/>
                  </a:lnTo>
                  <a:cubicBezTo>
                    <a:pt x="68002" y="541"/>
                    <a:pt x="67923" y="573"/>
                    <a:pt x="67860" y="605"/>
                  </a:cubicBezTo>
                  <a:cubicBezTo>
                    <a:pt x="67780" y="541"/>
                    <a:pt x="67733" y="509"/>
                    <a:pt x="67669" y="477"/>
                  </a:cubicBezTo>
                  <a:cubicBezTo>
                    <a:pt x="67528" y="470"/>
                    <a:pt x="67388" y="468"/>
                    <a:pt x="67248" y="468"/>
                  </a:cubicBezTo>
                  <a:cubicBezTo>
                    <a:pt x="66998" y="468"/>
                    <a:pt x="66751" y="475"/>
                    <a:pt x="66508" y="475"/>
                  </a:cubicBezTo>
                  <a:cubicBezTo>
                    <a:pt x="66286" y="475"/>
                    <a:pt x="66068" y="469"/>
                    <a:pt x="65856" y="446"/>
                  </a:cubicBezTo>
                  <a:cubicBezTo>
                    <a:pt x="65761" y="399"/>
                    <a:pt x="65713" y="367"/>
                    <a:pt x="65666" y="335"/>
                  </a:cubicBezTo>
                  <a:cubicBezTo>
                    <a:pt x="65586" y="382"/>
                    <a:pt x="65507" y="430"/>
                    <a:pt x="65490" y="430"/>
                  </a:cubicBezTo>
                  <a:cubicBezTo>
                    <a:pt x="65419" y="456"/>
                    <a:pt x="65361" y="467"/>
                    <a:pt x="65312" y="467"/>
                  </a:cubicBezTo>
                  <a:cubicBezTo>
                    <a:pt x="65155" y="467"/>
                    <a:pt x="65095" y="359"/>
                    <a:pt x="64998" y="335"/>
                  </a:cubicBezTo>
                  <a:lnTo>
                    <a:pt x="64553" y="335"/>
                  </a:lnTo>
                  <a:cubicBezTo>
                    <a:pt x="64441" y="382"/>
                    <a:pt x="64362" y="430"/>
                    <a:pt x="64314" y="462"/>
                  </a:cubicBezTo>
                  <a:lnTo>
                    <a:pt x="63662" y="462"/>
                  </a:lnTo>
                  <a:cubicBezTo>
                    <a:pt x="63550" y="399"/>
                    <a:pt x="63455" y="350"/>
                    <a:pt x="63423" y="335"/>
                  </a:cubicBezTo>
                  <a:lnTo>
                    <a:pt x="62740" y="335"/>
                  </a:lnTo>
                  <a:cubicBezTo>
                    <a:pt x="62660" y="399"/>
                    <a:pt x="62613" y="430"/>
                    <a:pt x="62549" y="462"/>
                  </a:cubicBezTo>
                  <a:cubicBezTo>
                    <a:pt x="62486" y="414"/>
                    <a:pt x="62406" y="367"/>
                    <a:pt x="62327" y="318"/>
                  </a:cubicBezTo>
                  <a:lnTo>
                    <a:pt x="61945" y="318"/>
                  </a:lnTo>
                  <a:cubicBezTo>
                    <a:pt x="61659" y="430"/>
                    <a:pt x="61420" y="509"/>
                    <a:pt x="61229" y="589"/>
                  </a:cubicBezTo>
                  <a:cubicBezTo>
                    <a:pt x="60928" y="494"/>
                    <a:pt x="60657" y="399"/>
                    <a:pt x="60339" y="287"/>
                  </a:cubicBezTo>
                  <a:cubicBezTo>
                    <a:pt x="60196" y="414"/>
                    <a:pt x="60052" y="526"/>
                    <a:pt x="59925" y="636"/>
                  </a:cubicBezTo>
                  <a:cubicBezTo>
                    <a:pt x="59321" y="367"/>
                    <a:pt x="59210" y="335"/>
                    <a:pt x="58749" y="335"/>
                  </a:cubicBezTo>
                  <a:cubicBezTo>
                    <a:pt x="58670" y="382"/>
                    <a:pt x="58590" y="430"/>
                    <a:pt x="58543" y="462"/>
                  </a:cubicBezTo>
                  <a:lnTo>
                    <a:pt x="57938" y="462"/>
                  </a:lnTo>
                  <a:cubicBezTo>
                    <a:pt x="57731" y="382"/>
                    <a:pt x="57620" y="350"/>
                    <a:pt x="57508" y="303"/>
                  </a:cubicBezTo>
                  <a:cubicBezTo>
                    <a:pt x="57381" y="367"/>
                    <a:pt x="57302" y="414"/>
                    <a:pt x="57222" y="462"/>
                  </a:cubicBezTo>
                  <a:cubicBezTo>
                    <a:pt x="57143" y="414"/>
                    <a:pt x="57063" y="367"/>
                    <a:pt x="56984" y="335"/>
                  </a:cubicBezTo>
                  <a:lnTo>
                    <a:pt x="56555" y="335"/>
                  </a:lnTo>
                  <a:cubicBezTo>
                    <a:pt x="56476" y="271"/>
                    <a:pt x="56396" y="223"/>
                    <a:pt x="56300" y="176"/>
                  </a:cubicBezTo>
                  <a:lnTo>
                    <a:pt x="55219" y="176"/>
                  </a:lnTo>
                  <a:cubicBezTo>
                    <a:pt x="55124" y="128"/>
                    <a:pt x="55060" y="96"/>
                    <a:pt x="54981" y="49"/>
                  </a:cubicBezTo>
                  <a:cubicBezTo>
                    <a:pt x="54901" y="96"/>
                    <a:pt x="54822" y="128"/>
                    <a:pt x="54758" y="176"/>
                  </a:cubicBezTo>
                  <a:cubicBezTo>
                    <a:pt x="54678" y="128"/>
                    <a:pt x="54631" y="96"/>
                    <a:pt x="54568" y="49"/>
                  </a:cubicBezTo>
                  <a:lnTo>
                    <a:pt x="54074" y="49"/>
                  </a:lnTo>
                  <a:cubicBezTo>
                    <a:pt x="53995" y="112"/>
                    <a:pt x="53947" y="144"/>
                    <a:pt x="53883" y="176"/>
                  </a:cubicBezTo>
                  <a:cubicBezTo>
                    <a:pt x="53804" y="128"/>
                    <a:pt x="53741" y="81"/>
                    <a:pt x="53661" y="49"/>
                  </a:cubicBezTo>
                  <a:cubicBezTo>
                    <a:pt x="53582" y="81"/>
                    <a:pt x="53502" y="128"/>
                    <a:pt x="53423" y="176"/>
                  </a:cubicBezTo>
                  <a:cubicBezTo>
                    <a:pt x="53343" y="176"/>
                    <a:pt x="53041" y="81"/>
                    <a:pt x="52961" y="49"/>
                  </a:cubicBezTo>
                  <a:lnTo>
                    <a:pt x="51880" y="49"/>
                  </a:lnTo>
                  <a:cubicBezTo>
                    <a:pt x="51785" y="96"/>
                    <a:pt x="51689" y="144"/>
                    <a:pt x="51674" y="159"/>
                  </a:cubicBezTo>
                  <a:cubicBezTo>
                    <a:pt x="51590" y="190"/>
                    <a:pt x="51517" y="201"/>
                    <a:pt x="51450" y="201"/>
                  </a:cubicBezTo>
                  <a:cubicBezTo>
                    <a:pt x="51196" y="201"/>
                    <a:pt x="51035" y="32"/>
                    <a:pt x="50784" y="32"/>
                  </a:cubicBezTo>
                  <a:cubicBezTo>
                    <a:pt x="50720" y="81"/>
                    <a:pt x="50640" y="128"/>
                    <a:pt x="50544" y="176"/>
                  </a:cubicBezTo>
                  <a:lnTo>
                    <a:pt x="46999" y="176"/>
                  </a:lnTo>
                  <a:cubicBezTo>
                    <a:pt x="46904" y="128"/>
                    <a:pt x="46792" y="81"/>
                    <a:pt x="46650" y="0"/>
                  </a:cubicBezTo>
                  <a:close/>
                </a:path>
              </a:pathLst>
            </a:cu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19" name="Google Shape;419;p22"/>
            <p:cNvSpPr/>
            <p:nvPr/>
          </p:nvSpPr>
          <p:spPr>
            <a:xfrm rot="4582793">
              <a:off x="8776016" y="2142954"/>
              <a:ext cx="1495756" cy="4073545"/>
            </a:xfrm>
            <a:custGeom>
              <a:avLst/>
              <a:gdLst/>
              <a:ahLst/>
              <a:cxnLst/>
              <a:rect l="l" t="t" r="r" b="b"/>
              <a:pathLst>
                <a:path w="50753" h="36406" extrusionOk="0">
                  <a:moveTo>
                    <a:pt x="32865" y="2847"/>
                  </a:moveTo>
                  <a:lnTo>
                    <a:pt x="32865" y="2847"/>
                  </a:lnTo>
                  <a:cubicBezTo>
                    <a:pt x="32818" y="2942"/>
                    <a:pt x="32769" y="2989"/>
                    <a:pt x="32722" y="3053"/>
                  </a:cubicBezTo>
                  <a:cubicBezTo>
                    <a:pt x="32578" y="2862"/>
                    <a:pt x="32737" y="2879"/>
                    <a:pt x="32865" y="2847"/>
                  </a:cubicBezTo>
                  <a:close/>
                  <a:moveTo>
                    <a:pt x="27777" y="3053"/>
                  </a:moveTo>
                  <a:cubicBezTo>
                    <a:pt x="27730" y="3133"/>
                    <a:pt x="27681" y="3197"/>
                    <a:pt x="27634" y="3244"/>
                  </a:cubicBezTo>
                  <a:cubicBezTo>
                    <a:pt x="27491" y="3069"/>
                    <a:pt x="27650" y="3085"/>
                    <a:pt x="27777" y="3053"/>
                  </a:cubicBezTo>
                  <a:close/>
                  <a:moveTo>
                    <a:pt x="18014" y="8952"/>
                  </a:moveTo>
                  <a:cubicBezTo>
                    <a:pt x="17967" y="9031"/>
                    <a:pt x="17919" y="9095"/>
                    <a:pt x="17872" y="9143"/>
                  </a:cubicBezTo>
                  <a:cubicBezTo>
                    <a:pt x="17728" y="8968"/>
                    <a:pt x="17887" y="8984"/>
                    <a:pt x="18014" y="8952"/>
                  </a:cubicBezTo>
                  <a:close/>
                  <a:moveTo>
                    <a:pt x="42378" y="9158"/>
                  </a:moveTo>
                  <a:cubicBezTo>
                    <a:pt x="42440" y="9158"/>
                    <a:pt x="42508" y="9180"/>
                    <a:pt x="42568" y="9180"/>
                  </a:cubicBezTo>
                  <a:cubicBezTo>
                    <a:pt x="42583" y="9180"/>
                    <a:pt x="42598" y="9178"/>
                    <a:pt x="42612" y="9175"/>
                  </a:cubicBezTo>
                  <a:lnTo>
                    <a:pt x="42612" y="9175"/>
                  </a:lnTo>
                  <a:cubicBezTo>
                    <a:pt x="42536" y="9298"/>
                    <a:pt x="42505" y="9347"/>
                    <a:pt x="42436" y="9347"/>
                  </a:cubicBezTo>
                  <a:cubicBezTo>
                    <a:pt x="42389" y="9347"/>
                    <a:pt x="42323" y="9324"/>
                    <a:pt x="42214" y="9286"/>
                  </a:cubicBezTo>
                  <a:cubicBezTo>
                    <a:pt x="42251" y="9183"/>
                    <a:pt x="42311" y="9158"/>
                    <a:pt x="42378" y="9158"/>
                  </a:cubicBezTo>
                  <a:close/>
                  <a:moveTo>
                    <a:pt x="47111" y="14040"/>
                  </a:moveTo>
                  <a:cubicBezTo>
                    <a:pt x="47064" y="14119"/>
                    <a:pt x="47015" y="14183"/>
                    <a:pt x="46968" y="14231"/>
                  </a:cubicBezTo>
                  <a:cubicBezTo>
                    <a:pt x="46825" y="14055"/>
                    <a:pt x="46984" y="14072"/>
                    <a:pt x="47111" y="14040"/>
                  </a:cubicBezTo>
                  <a:close/>
                  <a:moveTo>
                    <a:pt x="49750" y="14850"/>
                  </a:moveTo>
                  <a:cubicBezTo>
                    <a:pt x="49703" y="14931"/>
                    <a:pt x="49655" y="14994"/>
                    <a:pt x="49608" y="15041"/>
                  </a:cubicBezTo>
                  <a:cubicBezTo>
                    <a:pt x="49464" y="14867"/>
                    <a:pt x="49623" y="14882"/>
                    <a:pt x="49750" y="14850"/>
                  </a:cubicBezTo>
                  <a:close/>
                  <a:moveTo>
                    <a:pt x="47111" y="15058"/>
                  </a:moveTo>
                  <a:cubicBezTo>
                    <a:pt x="47064" y="15137"/>
                    <a:pt x="47015" y="15200"/>
                    <a:pt x="46968" y="15249"/>
                  </a:cubicBezTo>
                  <a:cubicBezTo>
                    <a:pt x="46825" y="15073"/>
                    <a:pt x="46984" y="15090"/>
                    <a:pt x="47111" y="15058"/>
                  </a:cubicBezTo>
                  <a:close/>
                  <a:moveTo>
                    <a:pt x="41626" y="16680"/>
                  </a:moveTo>
                  <a:lnTo>
                    <a:pt x="41626" y="16680"/>
                  </a:lnTo>
                  <a:cubicBezTo>
                    <a:pt x="41562" y="16775"/>
                    <a:pt x="41514" y="16822"/>
                    <a:pt x="41467" y="16886"/>
                  </a:cubicBezTo>
                  <a:cubicBezTo>
                    <a:pt x="41323" y="16695"/>
                    <a:pt x="41482" y="16711"/>
                    <a:pt x="41626" y="16680"/>
                  </a:cubicBezTo>
                  <a:close/>
                  <a:moveTo>
                    <a:pt x="40796" y="17318"/>
                  </a:moveTo>
                  <a:cubicBezTo>
                    <a:pt x="40812" y="17323"/>
                    <a:pt x="40911" y="17341"/>
                    <a:pt x="41101" y="17379"/>
                  </a:cubicBezTo>
                  <a:cubicBezTo>
                    <a:pt x="40878" y="17506"/>
                    <a:pt x="40751" y="17585"/>
                    <a:pt x="40545" y="17697"/>
                  </a:cubicBezTo>
                  <a:cubicBezTo>
                    <a:pt x="40552" y="17701"/>
                    <a:pt x="40553" y="17703"/>
                    <a:pt x="40546" y="17703"/>
                  </a:cubicBezTo>
                  <a:cubicBezTo>
                    <a:pt x="40524" y="17703"/>
                    <a:pt x="40425" y="17682"/>
                    <a:pt x="40242" y="17634"/>
                  </a:cubicBezTo>
                  <a:cubicBezTo>
                    <a:pt x="40463" y="17507"/>
                    <a:pt x="40607" y="17427"/>
                    <a:pt x="40796" y="17318"/>
                  </a:cubicBezTo>
                  <a:close/>
                  <a:moveTo>
                    <a:pt x="2401" y="27269"/>
                  </a:moveTo>
                  <a:cubicBezTo>
                    <a:pt x="2513" y="27284"/>
                    <a:pt x="2608" y="27300"/>
                    <a:pt x="2704" y="27316"/>
                  </a:cubicBezTo>
                  <a:cubicBezTo>
                    <a:pt x="2560" y="27682"/>
                    <a:pt x="2274" y="27968"/>
                    <a:pt x="2322" y="28382"/>
                  </a:cubicBezTo>
                  <a:cubicBezTo>
                    <a:pt x="2195" y="28524"/>
                    <a:pt x="2051" y="28668"/>
                    <a:pt x="1909" y="28810"/>
                  </a:cubicBezTo>
                  <a:lnTo>
                    <a:pt x="1909" y="29001"/>
                  </a:lnTo>
                  <a:cubicBezTo>
                    <a:pt x="1750" y="29177"/>
                    <a:pt x="1574" y="29336"/>
                    <a:pt x="1383" y="29526"/>
                  </a:cubicBezTo>
                  <a:cubicBezTo>
                    <a:pt x="1351" y="29431"/>
                    <a:pt x="1288" y="29319"/>
                    <a:pt x="1320" y="29256"/>
                  </a:cubicBezTo>
                  <a:cubicBezTo>
                    <a:pt x="1415" y="29097"/>
                    <a:pt x="1463" y="28874"/>
                    <a:pt x="1574" y="28763"/>
                  </a:cubicBezTo>
                  <a:cubicBezTo>
                    <a:pt x="1781" y="28556"/>
                    <a:pt x="1909" y="28286"/>
                    <a:pt x="2051" y="28047"/>
                  </a:cubicBezTo>
                  <a:cubicBezTo>
                    <a:pt x="2195" y="27793"/>
                    <a:pt x="2290" y="27538"/>
                    <a:pt x="2401" y="27269"/>
                  </a:cubicBezTo>
                  <a:close/>
                  <a:moveTo>
                    <a:pt x="33549" y="0"/>
                  </a:moveTo>
                  <a:cubicBezTo>
                    <a:pt x="33405" y="144"/>
                    <a:pt x="33278" y="303"/>
                    <a:pt x="33119" y="430"/>
                  </a:cubicBezTo>
                  <a:cubicBezTo>
                    <a:pt x="32992" y="557"/>
                    <a:pt x="32896" y="748"/>
                    <a:pt x="32674" y="795"/>
                  </a:cubicBezTo>
                  <a:cubicBezTo>
                    <a:pt x="32659" y="604"/>
                    <a:pt x="32627" y="414"/>
                    <a:pt x="32595" y="239"/>
                  </a:cubicBezTo>
                  <a:cubicBezTo>
                    <a:pt x="32500" y="223"/>
                    <a:pt x="32419" y="223"/>
                    <a:pt x="32309" y="208"/>
                  </a:cubicBezTo>
                  <a:cubicBezTo>
                    <a:pt x="32213" y="350"/>
                    <a:pt x="32086" y="494"/>
                    <a:pt x="31974" y="636"/>
                  </a:cubicBezTo>
                  <a:cubicBezTo>
                    <a:pt x="31832" y="541"/>
                    <a:pt x="31736" y="462"/>
                    <a:pt x="31641" y="398"/>
                  </a:cubicBezTo>
                  <a:cubicBezTo>
                    <a:pt x="31402" y="526"/>
                    <a:pt x="31211" y="621"/>
                    <a:pt x="31020" y="716"/>
                  </a:cubicBezTo>
                  <a:lnTo>
                    <a:pt x="31020" y="986"/>
                  </a:lnTo>
                  <a:cubicBezTo>
                    <a:pt x="31000" y="983"/>
                    <a:pt x="30979" y="982"/>
                    <a:pt x="30960" y="982"/>
                  </a:cubicBezTo>
                  <a:cubicBezTo>
                    <a:pt x="30755" y="982"/>
                    <a:pt x="30608" y="1127"/>
                    <a:pt x="30448" y="1272"/>
                  </a:cubicBezTo>
                  <a:cubicBezTo>
                    <a:pt x="30303" y="1417"/>
                    <a:pt x="30211" y="1628"/>
                    <a:pt x="29896" y="1628"/>
                  </a:cubicBezTo>
                  <a:cubicBezTo>
                    <a:pt x="29865" y="1628"/>
                    <a:pt x="29832" y="1626"/>
                    <a:pt x="29797" y="1622"/>
                  </a:cubicBezTo>
                  <a:cubicBezTo>
                    <a:pt x="29574" y="1876"/>
                    <a:pt x="29303" y="2179"/>
                    <a:pt x="29065" y="2433"/>
                  </a:cubicBezTo>
                  <a:cubicBezTo>
                    <a:pt x="28890" y="2465"/>
                    <a:pt x="28715" y="2433"/>
                    <a:pt x="28635" y="2497"/>
                  </a:cubicBezTo>
                  <a:cubicBezTo>
                    <a:pt x="28525" y="2640"/>
                    <a:pt x="28349" y="2624"/>
                    <a:pt x="28222" y="2703"/>
                  </a:cubicBezTo>
                  <a:cubicBezTo>
                    <a:pt x="28048" y="2815"/>
                    <a:pt x="27984" y="3053"/>
                    <a:pt x="27777" y="3053"/>
                  </a:cubicBezTo>
                  <a:cubicBezTo>
                    <a:pt x="27730" y="3006"/>
                    <a:pt x="27713" y="2910"/>
                    <a:pt x="27681" y="2894"/>
                  </a:cubicBezTo>
                  <a:cubicBezTo>
                    <a:pt x="27491" y="2879"/>
                    <a:pt x="27300" y="2879"/>
                    <a:pt x="27109" y="2862"/>
                  </a:cubicBezTo>
                  <a:cubicBezTo>
                    <a:pt x="27077" y="2862"/>
                    <a:pt x="26553" y="3244"/>
                    <a:pt x="26537" y="3260"/>
                  </a:cubicBezTo>
                  <a:cubicBezTo>
                    <a:pt x="26632" y="3260"/>
                    <a:pt x="26727" y="3276"/>
                    <a:pt x="26696" y="3403"/>
                  </a:cubicBezTo>
                  <a:cubicBezTo>
                    <a:pt x="26696" y="3435"/>
                    <a:pt x="26585" y="3451"/>
                    <a:pt x="26537" y="3466"/>
                  </a:cubicBezTo>
                  <a:cubicBezTo>
                    <a:pt x="26551" y="3631"/>
                    <a:pt x="26459" y="3677"/>
                    <a:pt x="26341" y="3677"/>
                  </a:cubicBezTo>
                  <a:cubicBezTo>
                    <a:pt x="26322" y="3677"/>
                    <a:pt x="26302" y="3676"/>
                    <a:pt x="26282" y="3674"/>
                  </a:cubicBezTo>
                  <a:cubicBezTo>
                    <a:pt x="26187" y="3657"/>
                    <a:pt x="26108" y="3594"/>
                    <a:pt x="26123" y="3466"/>
                  </a:cubicBezTo>
                  <a:lnTo>
                    <a:pt x="26123" y="3466"/>
                  </a:lnTo>
                  <a:cubicBezTo>
                    <a:pt x="26028" y="3530"/>
                    <a:pt x="25917" y="3594"/>
                    <a:pt x="25790" y="3674"/>
                  </a:cubicBezTo>
                  <a:cubicBezTo>
                    <a:pt x="25758" y="3578"/>
                    <a:pt x="25742" y="3498"/>
                    <a:pt x="25710" y="3419"/>
                  </a:cubicBezTo>
                  <a:cubicBezTo>
                    <a:pt x="26044" y="3038"/>
                    <a:pt x="26108" y="2942"/>
                    <a:pt x="26044" y="2879"/>
                  </a:cubicBezTo>
                  <a:lnTo>
                    <a:pt x="25281" y="2879"/>
                  </a:lnTo>
                  <a:cubicBezTo>
                    <a:pt x="24947" y="3244"/>
                    <a:pt x="24550" y="3657"/>
                    <a:pt x="24168" y="4087"/>
                  </a:cubicBezTo>
                  <a:cubicBezTo>
                    <a:pt x="24163" y="4092"/>
                    <a:pt x="24154" y="4094"/>
                    <a:pt x="24144" y="4094"/>
                  </a:cubicBezTo>
                  <a:cubicBezTo>
                    <a:pt x="24124" y="4094"/>
                    <a:pt x="24099" y="4087"/>
                    <a:pt x="24088" y="4087"/>
                  </a:cubicBezTo>
                  <a:cubicBezTo>
                    <a:pt x="23882" y="4071"/>
                    <a:pt x="23834" y="3896"/>
                    <a:pt x="23897" y="3801"/>
                  </a:cubicBezTo>
                  <a:cubicBezTo>
                    <a:pt x="24073" y="3578"/>
                    <a:pt x="24152" y="3307"/>
                    <a:pt x="24295" y="3069"/>
                  </a:cubicBezTo>
                  <a:lnTo>
                    <a:pt x="24009" y="3069"/>
                  </a:lnTo>
                  <a:cubicBezTo>
                    <a:pt x="23628" y="3387"/>
                    <a:pt x="23310" y="3753"/>
                    <a:pt x="22864" y="4007"/>
                  </a:cubicBezTo>
                  <a:cubicBezTo>
                    <a:pt x="22483" y="4246"/>
                    <a:pt x="22197" y="4659"/>
                    <a:pt x="21894" y="4946"/>
                  </a:cubicBezTo>
                  <a:cubicBezTo>
                    <a:pt x="21847" y="5088"/>
                    <a:pt x="21847" y="5215"/>
                    <a:pt x="21783" y="5264"/>
                  </a:cubicBezTo>
                  <a:cubicBezTo>
                    <a:pt x="20766" y="6296"/>
                    <a:pt x="19731" y="7331"/>
                    <a:pt x="18699" y="8348"/>
                  </a:cubicBezTo>
                  <a:cubicBezTo>
                    <a:pt x="18693" y="8353"/>
                    <a:pt x="18684" y="8355"/>
                    <a:pt x="18674" y="8355"/>
                  </a:cubicBezTo>
                  <a:cubicBezTo>
                    <a:pt x="18652" y="8355"/>
                    <a:pt x="18624" y="8348"/>
                    <a:pt x="18603" y="8348"/>
                  </a:cubicBezTo>
                  <a:cubicBezTo>
                    <a:pt x="18603" y="8491"/>
                    <a:pt x="18540" y="8554"/>
                    <a:pt x="18396" y="8554"/>
                  </a:cubicBezTo>
                  <a:cubicBezTo>
                    <a:pt x="18396" y="8698"/>
                    <a:pt x="18332" y="8762"/>
                    <a:pt x="18190" y="8762"/>
                  </a:cubicBezTo>
                  <a:cubicBezTo>
                    <a:pt x="18204" y="8890"/>
                    <a:pt x="18141" y="8955"/>
                    <a:pt x="18046" y="8955"/>
                  </a:cubicBezTo>
                  <a:cubicBezTo>
                    <a:pt x="18036" y="8955"/>
                    <a:pt x="18025" y="8954"/>
                    <a:pt x="18014" y="8952"/>
                  </a:cubicBezTo>
                  <a:cubicBezTo>
                    <a:pt x="17983" y="8825"/>
                    <a:pt x="18046" y="8762"/>
                    <a:pt x="18190" y="8762"/>
                  </a:cubicBezTo>
                  <a:cubicBezTo>
                    <a:pt x="18190" y="8618"/>
                    <a:pt x="18253" y="8554"/>
                    <a:pt x="18396" y="8554"/>
                  </a:cubicBezTo>
                  <a:cubicBezTo>
                    <a:pt x="18396" y="8412"/>
                    <a:pt x="18460" y="8348"/>
                    <a:pt x="18603" y="8348"/>
                  </a:cubicBezTo>
                  <a:lnTo>
                    <a:pt x="18603" y="7918"/>
                  </a:lnTo>
                  <a:cubicBezTo>
                    <a:pt x="18762" y="7791"/>
                    <a:pt x="19000" y="7600"/>
                    <a:pt x="19144" y="7505"/>
                  </a:cubicBezTo>
                  <a:cubicBezTo>
                    <a:pt x="19223" y="7299"/>
                    <a:pt x="19271" y="7203"/>
                    <a:pt x="19286" y="7155"/>
                  </a:cubicBezTo>
                  <a:cubicBezTo>
                    <a:pt x="19414" y="7123"/>
                    <a:pt x="19509" y="7108"/>
                    <a:pt x="19589" y="7091"/>
                  </a:cubicBezTo>
                  <a:cubicBezTo>
                    <a:pt x="19621" y="6964"/>
                    <a:pt x="19636" y="6869"/>
                    <a:pt x="19653" y="6837"/>
                  </a:cubicBezTo>
                  <a:cubicBezTo>
                    <a:pt x="19875" y="6695"/>
                    <a:pt x="20066" y="6567"/>
                    <a:pt x="20225" y="6455"/>
                  </a:cubicBezTo>
                  <a:lnTo>
                    <a:pt x="20225" y="6218"/>
                  </a:lnTo>
                  <a:cubicBezTo>
                    <a:pt x="20448" y="5995"/>
                    <a:pt x="20654" y="5772"/>
                    <a:pt x="20876" y="5582"/>
                  </a:cubicBezTo>
                  <a:cubicBezTo>
                    <a:pt x="21115" y="5374"/>
                    <a:pt x="21211" y="5105"/>
                    <a:pt x="21385" y="4865"/>
                  </a:cubicBezTo>
                  <a:cubicBezTo>
                    <a:pt x="21576" y="4628"/>
                    <a:pt x="21815" y="4437"/>
                    <a:pt x="22021" y="4214"/>
                  </a:cubicBezTo>
                  <a:cubicBezTo>
                    <a:pt x="22244" y="4007"/>
                    <a:pt x="22451" y="3784"/>
                    <a:pt x="22625" y="3610"/>
                  </a:cubicBezTo>
                  <a:cubicBezTo>
                    <a:pt x="22674" y="3466"/>
                    <a:pt x="22689" y="3356"/>
                    <a:pt x="22752" y="3292"/>
                  </a:cubicBezTo>
                  <a:cubicBezTo>
                    <a:pt x="23310" y="2720"/>
                    <a:pt x="23897" y="2147"/>
                    <a:pt x="24470" y="1575"/>
                  </a:cubicBezTo>
                  <a:cubicBezTo>
                    <a:pt x="24709" y="1336"/>
                    <a:pt x="24788" y="1034"/>
                    <a:pt x="24963" y="748"/>
                  </a:cubicBezTo>
                  <a:cubicBezTo>
                    <a:pt x="24772" y="653"/>
                    <a:pt x="24629" y="589"/>
                    <a:pt x="24501" y="526"/>
                  </a:cubicBezTo>
                  <a:cubicBezTo>
                    <a:pt x="24501" y="445"/>
                    <a:pt x="24501" y="382"/>
                    <a:pt x="24486" y="318"/>
                  </a:cubicBezTo>
                  <a:cubicBezTo>
                    <a:pt x="24486" y="286"/>
                    <a:pt x="24454" y="271"/>
                    <a:pt x="24406" y="223"/>
                  </a:cubicBezTo>
                  <a:cubicBezTo>
                    <a:pt x="24295" y="335"/>
                    <a:pt x="24183" y="462"/>
                    <a:pt x="24056" y="541"/>
                  </a:cubicBezTo>
                  <a:cubicBezTo>
                    <a:pt x="23914" y="653"/>
                    <a:pt x="23691" y="653"/>
                    <a:pt x="23579" y="812"/>
                  </a:cubicBezTo>
                  <a:cubicBezTo>
                    <a:pt x="23500" y="748"/>
                    <a:pt x="23437" y="700"/>
                    <a:pt x="23357" y="636"/>
                  </a:cubicBezTo>
                  <a:cubicBezTo>
                    <a:pt x="23214" y="922"/>
                    <a:pt x="22928" y="763"/>
                    <a:pt x="22674" y="891"/>
                  </a:cubicBezTo>
                  <a:cubicBezTo>
                    <a:pt x="22801" y="1162"/>
                    <a:pt x="22530" y="1257"/>
                    <a:pt x="22371" y="1416"/>
                  </a:cubicBezTo>
                  <a:cubicBezTo>
                    <a:pt x="22197" y="1622"/>
                    <a:pt x="21974" y="1798"/>
                    <a:pt x="21815" y="2004"/>
                  </a:cubicBezTo>
                  <a:cubicBezTo>
                    <a:pt x="21656" y="2211"/>
                    <a:pt x="21402" y="2194"/>
                    <a:pt x="21243" y="2370"/>
                  </a:cubicBezTo>
                  <a:lnTo>
                    <a:pt x="21243" y="2592"/>
                  </a:lnTo>
                  <a:cubicBezTo>
                    <a:pt x="21162" y="2608"/>
                    <a:pt x="21067" y="2640"/>
                    <a:pt x="20988" y="2671"/>
                  </a:cubicBezTo>
                  <a:cubicBezTo>
                    <a:pt x="20670" y="2974"/>
                    <a:pt x="20367" y="3292"/>
                    <a:pt x="20034" y="3642"/>
                  </a:cubicBezTo>
                  <a:lnTo>
                    <a:pt x="20034" y="3784"/>
                  </a:lnTo>
                  <a:cubicBezTo>
                    <a:pt x="19890" y="3848"/>
                    <a:pt x="19748" y="3912"/>
                    <a:pt x="19621" y="3975"/>
                  </a:cubicBezTo>
                  <a:lnTo>
                    <a:pt x="19621" y="4182"/>
                  </a:lnTo>
                  <a:lnTo>
                    <a:pt x="19318" y="4484"/>
                  </a:lnTo>
                  <a:lnTo>
                    <a:pt x="19048" y="4484"/>
                  </a:lnTo>
                  <a:cubicBezTo>
                    <a:pt x="19048" y="4834"/>
                    <a:pt x="18873" y="5088"/>
                    <a:pt x="18491" y="5120"/>
                  </a:cubicBezTo>
                  <a:cubicBezTo>
                    <a:pt x="18444" y="5120"/>
                    <a:pt x="18412" y="5215"/>
                    <a:pt x="18396" y="5279"/>
                  </a:cubicBezTo>
                  <a:cubicBezTo>
                    <a:pt x="18381" y="5518"/>
                    <a:pt x="18205" y="5677"/>
                    <a:pt x="18031" y="5692"/>
                  </a:cubicBezTo>
                  <a:cubicBezTo>
                    <a:pt x="17633" y="5741"/>
                    <a:pt x="17665" y="6106"/>
                    <a:pt x="17490" y="6313"/>
                  </a:cubicBezTo>
                  <a:cubicBezTo>
                    <a:pt x="17427" y="6313"/>
                    <a:pt x="17363" y="6313"/>
                    <a:pt x="17268" y="6328"/>
                  </a:cubicBezTo>
                  <a:cubicBezTo>
                    <a:pt x="17124" y="6487"/>
                    <a:pt x="16965" y="6646"/>
                    <a:pt x="16774" y="6837"/>
                  </a:cubicBezTo>
                  <a:lnTo>
                    <a:pt x="16774" y="7013"/>
                  </a:lnTo>
                  <a:cubicBezTo>
                    <a:pt x="16441" y="7203"/>
                    <a:pt x="16075" y="7362"/>
                    <a:pt x="15947" y="7776"/>
                  </a:cubicBezTo>
                  <a:cubicBezTo>
                    <a:pt x="15932" y="7839"/>
                    <a:pt x="15900" y="7886"/>
                    <a:pt x="15869" y="7935"/>
                  </a:cubicBezTo>
                  <a:cubicBezTo>
                    <a:pt x="15551" y="8253"/>
                    <a:pt x="15264" y="8586"/>
                    <a:pt x="14930" y="8872"/>
                  </a:cubicBezTo>
                  <a:cubicBezTo>
                    <a:pt x="14565" y="9175"/>
                    <a:pt x="14438" y="9652"/>
                    <a:pt x="14071" y="9953"/>
                  </a:cubicBezTo>
                  <a:cubicBezTo>
                    <a:pt x="13706" y="10240"/>
                    <a:pt x="13388" y="10606"/>
                    <a:pt x="13054" y="10939"/>
                  </a:cubicBezTo>
                  <a:cubicBezTo>
                    <a:pt x="12704" y="11305"/>
                    <a:pt x="12322" y="11655"/>
                    <a:pt x="11989" y="12037"/>
                  </a:cubicBezTo>
                  <a:cubicBezTo>
                    <a:pt x="11671" y="12387"/>
                    <a:pt x="11241" y="12577"/>
                    <a:pt x="10923" y="12895"/>
                  </a:cubicBezTo>
                  <a:cubicBezTo>
                    <a:pt x="9810" y="13977"/>
                    <a:pt x="8714" y="15090"/>
                    <a:pt x="7616" y="16186"/>
                  </a:cubicBezTo>
                  <a:lnTo>
                    <a:pt x="7616" y="16345"/>
                  </a:lnTo>
                  <a:cubicBezTo>
                    <a:pt x="7219" y="16934"/>
                    <a:pt x="6583" y="17235"/>
                    <a:pt x="6297" y="17888"/>
                  </a:cubicBezTo>
                  <a:cubicBezTo>
                    <a:pt x="6202" y="18158"/>
                    <a:pt x="5899" y="18285"/>
                    <a:pt x="5756" y="18571"/>
                  </a:cubicBezTo>
                  <a:cubicBezTo>
                    <a:pt x="5629" y="18874"/>
                    <a:pt x="5326" y="19080"/>
                    <a:pt x="5089" y="19319"/>
                  </a:cubicBezTo>
                  <a:cubicBezTo>
                    <a:pt x="5057" y="19366"/>
                    <a:pt x="4977" y="19430"/>
                    <a:pt x="4977" y="19478"/>
                  </a:cubicBezTo>
                  <a:cubicBezTo>
                    <a:pt x="5008" y="19796"/>
                    <a:pt x="4580" y="19843"/>
                    <a:pt x="4580" y="20114"/>
                  </a:cubicBezTo>
                  <a:cubicBezTo>
                    <a:pt x="4563" y="20432"/>
                    <a:pt x="4166" y="20464"/>
                    <a:pt x="4150" y="20765"/>
                  </a:cubicBezTo>
                  <a:cubicBezTo>
                    <a:pt x="4150" y="21051"/>
                    <a:pt x="3800" y="21115"/>
                    <a:pt x="3721" y="21401"/>
                  </a:cubicBezTo>
                  <a:cubicBezTo>
                    <a:pt x="3658" y="21624"/>
                    <a:pt x="3403" y="21799"/>
                    <a:pt x="3228" y="22005"/>
                  </a:cubicBezTo>
                  <a:cubicBezTo>
                    <a:pt x="3100" y="22149"/>
                    <a:pt x="3132" y="22387"/>
                    <a:pt x="2941" y="22499"/>
                  </a:cubicBezTo>
                  <a:cubicBezTo>
                    <a:pt x="2910" y="22514"/>
                    <a:pt x="2941" y="22626"/>
                    <a:pt x="2941" y="22800"/>
                  </a:cubicBezTo>
                  <a:cubicBezTo>
                    <a:pt x="2767" y="22944"/>
                    <a:pt x="2545" y="23150"/>
                    <a:pt x="2322" y="23341"/>
                  </a:cubicBezTo>
                  <a:cubicBezTo>
                    <a:pt x="2290" y="23580"/>
                    <a:pt x="2433" y="23834"/>
                    <a:pt x="2210" y="24025"/>
                  </a:cubicBezTo>
                  <a:lnTo>
                    <a:pt x="2019" y="24025"/>
                  </a:lnTo>
                  <a:cubicBezTo>
                    <a:pt x="1765" y="24390"/>
                    <a:pt x="1718" y="24884"/>
                    <a:pt x="1320" y="25122"/>
                  </a:cubicBezTo>
                  <a:lnTo>
                    <a:pt x="1320" y="26362"/>
                  </a:lnTo>
                  <a:cubicBezTo>
                    <a:pt x="1447" y="26584"/>
                    <a:pt x="1669" y="26648"/>
                    <a:pt x="1892" y="26728"/>
                  </a:cubicBezTo>
                  <a:lnTo>
                    <a:pt x="1892" y="27411"/>
                  </a:lnTo>
                  <a:cubicBezTo>
                    <a:pt x="1527" y="27634"/>
                    <a:pt x="1495" y="28079"/>
                    <a:pt x="1177" y="28350"/>
                  </a:cubicBezTo>
                  <a:cubicBezTo>
                    <a:pt x="1018" y="28477"/>
                    <a:pt x="1002" y="28747"/>
                    <a:pt x="891" y="28938"/>
                  </a:cubicBezTo>
                  <a:cubicBezTo>
                    <a:pt x="716" y="29240"/>
                    <a:pt x="605" y="29590"/>
                    <a:pt x="302" y="29796"/>
                  </a:cubicBezTo>
                  <a:lnTo>
                    <a:pt x="302" y="30209"/>
                  </a:lnTo>
                  <a:cubicBezTo>
                    <a:pt x="223" y="30290"/>
                    <a:pt x="160" y="30353"/>
                    <a:pt x="80" y="30449"/>
                  </a:cubicBezTo>
                  <a:cubicBezTo>
                    <a:pt x="143" y="30576"/>
                    <a:pt x="1" y="30767"/>
                    <a:pt x="160" y="30909"/>
                  </a:cubicBezTo>
                  <a:cubicBezTo>
                    <a:pt x="160" y="30909"/>
                    <a:pt x="668" y="30591"/>
                    <a:pt x="684" y="30591"/>
                  </a:cubicBezTo>
                  <a:lnTo>
                    <a:pt x="684" y="31036"/>
                  </a:lnTo>
                  <a:cubicBezTo>
                    <a:pt x="588" y="31148"/>
                    <a:pt x="541" y="31227"/>
                    <a:pt x="478" y="31307"/>
                  </a:cubicBezTo>
                  <a:lnTo>
                    <a:pt x="478" y="32086"/>
                  </a:lnTo>
                  <a:cubicBezTo>
                    <a:pt x="398" y="32149"/>
                    <a:pt x="350" y="32198"/>
                    <a:pt x="302" y="32245"/>
                  </a:cubicBezTo>
                  <a:lnTo>
                    <a:pt x="302" y="32675"/>
                  </a:lnTo>
                  <a:cubicBezTo>
                    <a:pt x="446" y="32817"/>
                    <a:pt x="620" y="32976"/>
                    <a:pt x="811" y="33152"/>
                  </a:cubicBezTo>
                  <a:cubicBezTo>
                    <a:pt x="859" y="33103"/>
                    <a:pt x="923" y="33040"/>
                    <a:pt x="1002" y="32976"/>
                  </a:cubicBezTo>
                  <a:cubicBezTo>
                    <a:pt x="1065" y="33040"/>
                    <a:pt x="1145" y="33103"/>
                    <a:pt x="1209" y="33167"/>
                  </a:cubicBezTo>
                  <a:cubicBezTo>
                    <a:pt x="1242" y="33171"/>
                    <a:pt x="1276" y="33173"/>
                    <a:pt x="1309" y="33173"/>
                  </a:cubicBezTo>
                  <a:cubicBezTo>
                    <a:pt x="1407" y="33173"/>
                    <a:pt x="1504" y="33159"/>
                    <a:pt x="1598" y="33159"/>
                  </a:cubicBezTo>
                  <a:cubicBezTo>
                    <a:pt x="1701" y="33159"/>
                    <a:pt x="1800" y="33176"/>
                    <a:pt x="1892" y="33247"/>
                  </a:cubicBezTo>
                  <a:cubicBezTo>
                    <a:pt x="1909" y="33406"/>
                    <a:pt x="1940" y="33565"/>
                    <a:pt x="1956" y="33724"/>
                  </a:cubicBezTo>
                  <a:cubicBezTo>
                    <a:pt x="2068" y="33819"/>
                    <a:pt x="2163" y="33915"/>
                    <a:pt x="2227" y="33978"/>
                  </a:cubicBezTo>
                  <a:lnTo>
                    <a:pt x="2958" y="33978"/>
                  </a:lnTo>
                  <a:cubicBezTo>
                    <a:pt x="3337" y="33803"/>
                    <a:pt x="3596" y="33575"/>
                    <a:pt x="3944" y="33575"/>
                  </a:cubicBezTo>
                  <a:cubicBezTo>
                    <a:pt x="3975" y="33575"/>
                    <a:pt x="4006" y="33576"/>
                    <a:pt x="4039" y="33580"/>
                  </a:cubicBezTo>
                  <a:cubicBezTo>
                    <a:pt x="4182" y="33453"/>
                    <a:pt x="4325" y="33311"/>
                    <a:pt x="4468" y="33167"/>
                  </a:cubicBezTo>
                  <a:lnTo>
                    <a:pt x="5820" y="33167"/>
                  </a:lnTo>
                  <a:cubicBezTo>
                    <a:pt x="5994" y="33088"/>
                    <a:pt x="6106" y="33024"/>
                    <a:pt x="6217" y="32976"/>
                  </a:cubicBezTo>
                  <a:cubicBezTo>
                    <a:pt x="6408" y="32865"/>
                    <a:pt x="6630" y="32785"/>
                    <a:pt x="6789" y="32658"/>
                  </a:cubicBezTo>
                  <a:cubicBezTo>
                    <a:pt x="6980" y="32516"/>
                    <a:pt x="7139" y="32325"/>
                    <a:pt x="7298" y="32166"/>
                  </a:cubicBezTo>
                  <a:cubicBezTo>
                    <a:pt x="7319" y="32169"/>
                    <a:pt x="7339" y="32170"/>
                    <a:pt x="7358" y="32170"/>
                  </a:cubicBezTo>
                  <a:cubicBezTo>
                    <a:pt x="7643" y="32170"/>
                    <a:pt x="7725" y="31857"/>
                    <a:pt x="7934" y="31768"/>
                  </a:cubicBezTo>
                  <a:lnTo>
                    <a:pt x="8220" y="32054"/>
                  </a:lnTo>
                  <a:cubicBezTo>
                    <a:pt x="8157" y="32134"/>
                    <a:pt x="8093" y="32198"/>
                    <a:pt x="8014" y="32276"/>
                  </a:cubicBezTo>
                  <a:cubicBezTo>
                    <a:pt x="8061" y="32435"/>
                    <a:pt x="7950" y="32611"/>
                    <a:pt x="8125" y="32770"/>
                  </a:cubicBezTo>
                  <a:lnTo>
                    <a:pt x="9015" y="32770"/>
                  </a:lnTo>
                  <a:cubicBezTo>
                    <a:pt x="9079" y="32770"/>
                    <a:pt x="9142" y="32738"/>
                    <a:pt x="9191" y="32706"/>
                  </a:cubicBezTo>
                  <a:lnTo>
                    <a:pt x="9350" y="32547"/>
                  </a:lnTo>
                  <a:cubicBezTo>
                    <a:pt x="9397" y="32643"/>
                    <a:pt x="9429" y="32722"/>
                    <a:pt x="9460" y="32785"/>
                  </a:cubicBezTo>
                  <a:cubicBezTo>
                    <a:pt x="9397" y="32993"/>
                    <a:pt x="9095" y="33088"/>
                    <a:pt x="9286" y="33326"/>
                  </a:cubicBezTo>
                  <a:cubicBezTo>
                    <a:pt x="9375" y="33392"/>
                    <a:pt x="9457" y="33417"/>
                    <a:pt x="9534" y="33417"/>
                  </a:cubicBezTo>
                  <a:cubicBezTo>
                    <a:pt x="9773" y="33417"/>
                    <a:pt x="9968" y="33176"/>
                    <a:pt x="10208" y="33152"/>
                  </a:cubicBezTo>
                  <a:cubicBezTo>
                    <a:pt x="10510" y="33135"/>
                    <a:pt x="10764" y="32912"/>
                    <a:pt x="11050" y="32770"/>
                  </a:cubicBezTo>
                  <a:lnTo>
                    <a:pt x="11703" y="32770"/>
                  </a:lnTo>
                  <a:cubicBezTo>
                    <a:pt x="12004" y="32611"/>
                    <a:pt x="12243" y="32467"/>
                    <a:pt x="12513" y="32372"/>
                  </a:cubicBezTo>
                  <a:cubicBezTo>
                    <a:pt x="12848" y="32245"/>
                    <a:pt x="12958" y="31880"/>
                    <a:pt x="13293" y="31736"/>
                  </a:cubicBezTo>
                  <a:cubicBezTo>
                    <a:pt x="13356" y="31768"/>
                    <a:pt x="13435" y="31799"/>
                    <a:pt x="13515" y="31848"/>
                  </a:cubicBezTo>
                  <a:lnTo>
                    <a:pt x="13325" y="32039"/>
                  </a:lnTo>
                  <a:lnTo>
                    <a:pt x="13325" y="32865"/>
                  </a:lnTo>
                  <a:cubicBezTo>
                    <a:pt x="13038" y="33056"/>
                    <a:pt x="13102" y="33294"/>
                    <a:pt x="13149" y="33517"/>
                  </a:cubicBezTo>
                  <a:cubicBezTo>
                    <a:pt x="13244" y="33612"/>
                    <a:pt x="13340" y="33707"/>
                    <a:pt x="13435" y="33788"/>
                  </a:cubicBezTo>
                  <a:lnTo>
                    <a:pt x="13992" y="33788"/>
                  </a:lnTo>
                  <a:cubicBezTo>
                    <a:pt x="14135" y="33883"/>
                    <a:pt x="14247" y="33962"/>
                    <a:pt x="14326" y="34010"/>
                  </a:cubicBezTo>
                  <a:cubicBezTo>
                    <a:pt x="14469" y="33930"/>
                    <a:pt x="14565" y="33866"/>
                    <a:pt x="14660" y="33803"/>
                  </a:cubicBezTo>
                  <a:cubicBezTo>
                    <a:pt x="14771" y="33915"/>
                    <a:pt x="14851" y="34010"/>
                    <a:pt x="14930" y="34106"/>
                  </a:cubicBezTo>
                  <a:lnTo>
                    <a:pt x="14756" y="34280"/>
                  </a:lnTo>
                  <a:cubicBezTo>
                    <a:pt x="14803" y="34343"/>
                    <a:pt x="14883" y="34407"/>
                    <a:pt x="14915" y="34471"/>
                  </a:cubicBezTo>
                  <a:cubicBezTo>
                    <a:pt x="14962" y="34598"/>
                    <a:pt x="14930" y="34742"/>
                    <a:pt x="15057" y="34820"/>
                  </a:cubicBezTo>
                  <a:cubicBezTo>
                    <a:pt x="15137" y="34884"/>
                    <a:pt x="15201" y="34948"/>
                    <a:pt x="15280" y="35011"/>
                  </a:cubicBezTo>
                  <a:cubicBezTo>
                    <a:pt x="15343" y="35048"/>
                    <a:pt x="15399" y="35063"/>
                    <a:pt x="15450" y="35063"/>
                  </a:cubicBezTo>
                  <a:cubicBezTo>
                    <a:pt x="15642" y="35063"/>
                    <a:pt x="15766" y="34849"/>
                    <a:pt x="15979" y="34773"/>
                  </a:cubicBezTo>
                  <a:lnTo>
                    <a:pt x="16488" y="34773"/>
                  </a:lnTo>
                  <a:lnTo>
                    <a:pt x="16870" y="34392"/>
                  </a:lnTo>
                  <a:lnTo>
                    <a:pt x="17077" y="34598"/>
                  </a:lnTo>
                  <a:cubicBezTo>
                    <a:pt x="17331" y="34233"/>
                    <a:pt x="17824" y="34153"/>
                    <a:pt x="18078" y="33788"/>
                  </a:cubicBezTo>
                  <a:cubicBezTo>
                    <a:pt x="18237" y="34025"/>
                    <a:pt x="18571" y="33962"/>
                    <a:pt x="18714" y="34184"/>
                  </a:cubicBezTo>
                  <a:lnTo>
                    <a:pt x="19589" y="34184"/>
                  </a:lnTo>
                  <a:lnTo>
                    <a:pt x="20988" y="32785"/>
                  </a:lnTo>
                  <a:cubicBezTo>
                    <a:pt x="21067" y="32753"/>
                    <a:pt x="21162" y="32722"/>
                    <a:pt x="21243" y="32690"/>
                  </a:cubicBezTo>
                  <a:lnTo>
                    <a:pt x="21243" y="32467"/>
                  </a:lnTo>
                  <a:lnTo>
                    <a:pt x="21321" y="32547"/>
                  </a:lnTo>
                  <a:cubicBezTo>
                    <a:pt x="21402" y="32404"/>
                    <a:pt x="21480" y="32245"/>
                    <a:pt x="21529" y="32134"/>
                  </a:cubicBezTo>
                  <a:cubicBezTo>
                    <a:pt x="21578" y="32148"/>
                    <a:pt x="21626" y="32152"/>
                    <a:pt x="21673" y="32152"/>
                  </a:cubicBezTo>
                  <a:cubicBezTo>
                    <a:pt x="21732" y="32152"/>
                    <a:pt x="21788" y="32146"/>
                    <a:pt x="21838" y="32146"/>
                  </a:cubicBezTo>
                  <a:cubicBezTo>
                    <a:pt x="21927" y="32146"/>
                    <a:pt x="21998" y="32166"/>
                    <a:pt x="22038" y="32276"/>
                  </a:cubicBezTo>
                  <a:cubicBezTo>
                    <a:pt x="21830" y="32563"/>
                    <a:pt x="21830" y="32563"/>
                    <a:pt x="21957" y="32976"/>
                  </a:cubicBezTo>
                  <a:lnTo>
                    <a:pt x="23182" y="32976"/>
                  </a:lnTo>
                  <a:cubicBezTo>
                    <a:pt x="23198" y="32976"/>
                    <a:pt x="23229" y="33024"/>
                    <a:pt x="23246" y="33040"/>
                  </a:cubicBezTo>
                  <a:cubicBezTo>
                    <a:pt x="23182" y="33167"/>
                    <a:pt x="23102" y="33294"/>
                    <a:pt x="23039" y="33421"/>
                  </a:cubicBezTo>
                  <a:cubicBezTo>
                    <a:pt x="23134" y="33533"/>
                    <a:pt x="23198" y="33612"/>
                    <a:pt x="23293" y="33707"/>
                  </a:cubicBezTo>
                  <a:cubicBezTo>
                    <a:pt x="22943" y="33835"/>
                    <a:pt x="22928" y="34216"/>
                    <a:pt x="22721" y="34455"/>
                  </a:cubicBezTo>
                  <a:cubicBezTo>
                    <a:pt x="22705" y="34471"/>
                    <a:pt x="22752" y="34551"/>
                    <a:pt x="22769" y="34598"/>
                  </a:cubicBezTo>
                  <a:lnTo>
                    <a:pt x="23070" y="34598"/>
                  </a:lnTo>
                  <a:cubicBezTo>
                    <a:pt x="23070" y="34455"/>
                    <a:pt x="23134" y="34392"/>
                    <a:pt x="23278" y="34392"/>
                  </a:cubicBezTo>
                  <a:cubicBezTo>
                    <a:pt x="23278" y="34248"/>
                    <a:pt x="23341" y="34184"/>
                    <a:pt x="23484" y="34184"/>
                  </a:cubicBezTo>
                  <a:cubicBezTo>
                    <a:pt x="23484" y="34068"/>
                    <a:pt x="23537" y="33992"/>
                    <a:pt x="23657" y="33992"/>
                  </a:cubicBezTo>
                  <a:cubicBezTo>
                    <a:pt x="23668" y="33992"/>
                    <a:pt x="23679" y="33992"/>
                    <a:pt x="23691" y="33994"/>
                  </a:cubicBezTo>
                  <a:lnTo>
                    <a:pt x="23691" y="33692"/>
                  </a:lnTo>
                  <a:cubicBezTo>
                    <a:pt x="23826" y="33570"/>
                    <a:pt x="23915" y="33369"/>
                    <a:pt x="24104" y="33369"/>
                  </a:cubicBezTo>
                  <a:cubicBezTo>
                    <a:pt x="24138" y="33369"/>
                    <a:pt x="24174" y="33375"/>
                    <a:pt x="24215" y="33389"/>
                  </a:cubicBezTo>
                  <a:cubicBezTo>
                    <a:pt x="24295" y="33517"/>
                    <a:pt x="24295" y="33517"/>
                    <a:pt x="23691" y="33994"/>
                  </a:cubicBezTo>
                  <a:cubicBezTo>
                    <a:pt x="23691" y="34110"/>
                    <a:pt x="23638" y="34187"/>
                    <a:pt x="23520" y="34187"/>
                  </a:cubicBezTo>
                  <a:cubicBezTo>
                    <a:pt x="23508" y="34187"/>
                    <a:pt x="23496" y="34186"/>
                    <a:pt x="23484" y="34184"/>
                  </a:cubicBezTo>
                  <a:cubicBezTo>
                    <a:pt x="23484" y="34316"/>
                    <a:pt x="23430" y="34394"/>
                    <a:pt x="23311" y="34394"/>
                  </a:cubicBezTo>
                  <a:cubicBezTo>
                    <a:pt x="23301" y="34394"/>
                    <a:pt x="23289" y="34393"/>
                    <a:pt x="23278" y="34392"/>
                  </a:cubicBezTo>
                  <a:cubicBezTo>
                    <a:pt x="23278" y="34534"/>
                    <a:pt x="23214" y="34598"/>
                    <a:pt x="23070" y="34598"/>
                  </a:cubicBezTo>
                  <a:cubicBezTo>
                    <a:pt x="23102" y="34773"/>
                    <a:pt x="22928" y="34805"/>
                    <a:pt x="22864" y="34948"/>
                  </a:cubicBezTo>
                  <a:lnTo>
                    <a:pt x="22864" y="35314"/>
                  </a:lnTo>
                  <a:cubicBezTo>
                    <a:pt x="22721" y="35456"/>
                    <a:pt x="22530" y="35600"/>
                    <a:pt x="22769" y="35823"/>
                  </a:cubicBezTo>
                  <a:lnTo>
                    <a:pt x="23261" y="35823"/>
                  </a:lnTo>
                  <a:cubicBezTo>
                    <a:pt x="23405" y="35997"/>
                    <a:pt x="23596" y="36236"/>
                    <a:pt x="23691" y="36347"/>
                  </a:cubicBezTo>
                  <a:cubicBezTo>
                    <a:pt x="23775" y="36389"/>
                    <a:pt x="23841" y="36405"/>
                    <a:pt x="23898" y="36405"/>
                  </a:cubicBezTo>
                  <a:cubicBezTo>
                    <a:pt x="24079" y="36405"/>
                    <a:pt x="24164" y="36240"/>
                    <a:pt x="24406" y="36204"/>
                  </a:cubicBezTo>
                  <a:lnTo>
                    <a:pt x="24819" y="36204"/>
                  </a:lnTo>
                  <a:cubicBezTo>
                    <a:pt x="24883" y="36141"/>
                    <a:pt x="24931" y="36092"/>
                    <a:pt x="25027" y="36013"/>
                  </a:cubicBezTo>
                  <a:lnTo>
                    <a:pt x="26044" y="36013"/>
                  </a:lnTo>
                  <a:cubicBezTo>
                    <a:pt x="26091" y="35950"/>
                    <a:pt x="26123" y="35918"/>
                    <a:pt x="26140" y="35902"/>
                  </a:cubicBezTo>
                  <a:cubicBezTo>
                    <a:pt x="26299" y="35791"/>
                    <a:pt x="26537" y="35823"/>
                    <a:pt x="26632" y="35615"/>
                  </a:cubicBezTo>
                  <a:cubicBezTo>
                    <a:pt x="26663" y="35623"/>
                    <a:pt x="26691" y="35627"/>
                    <a:pt x="26718" y="35627"/>
                  </a:cubicBezTo>
                  <a:cubicBezTo>
                    <a:pt x="26910" y="35627"/>
                    <a:pt x="26999" y="35441"/>
                    <a:pt x="27125" y="35329"/>
                  </a:cubicBezTo>
                  <a:cubicBezTo>
                    <a:pt x="27284" y="35170"/>
                    <a:pt x="27554" y="35187"/>
                    <a:pt x="27698" y="34979"/>
                  </a:cubicBezTo>
                  <a:cubicBezTo>
                    <a:pt x="27809" y="34805"/>
                    <a:pt x="27968" y="34678"/>
                    <a:pt x="28111" y="34534"/>
                  </a:cubicBezTo>
                  <a:cubicBezTo>
                    <a:pt x="28572" y="34089"/>
                    <a:pt x="29033" y="33629"/>
                    <a:pt x="29479" y="33183"/>
                  </a:cubicBezTo>
                  <a:lnTo>
                    <a:pt x="29685" y="33183"/>
                  </a:lnTo>
                  <a:cubicBezTo>
                    <a:pt x="30083" y="32770"/>
                    <a:pt x="30496" y="32357"/>
                    <a:pt x="30893" y="31958"/>
                  </a:cubicBezTo>
                  <a:lnTo>
                    <a:pt x="31132" y="31958"/>
                  </a:lnTo>
                  <a:cubicBezTo>
                    <a:pt x="31259" y="31816"/>
                    <a:pt x="31402" y="31672"/>
                    <a:pt x="31546" y="31530"/>
                  </a:cubicBezTo>
                  <a:cubicBezTo>
                    <a:pt x="31705" y="31354"/>
                    <a:pt x="31864" y="31195"/>
                    <a:pt x="32038" y="31021"/>
                  </a:cubicBezTo>
                  <a:cubicBezTo>
                    <a:pt x="32182" y="30894"/>
                    <a:pt x="32388" y="30894"/>
                    <a:pt x="32531" y="30750"/>
                  </a:cubicBezTo>
                  <a:cubicBezTo>
                    <a:pt x="33263" y="30067"/>
                    <a:pt x="33867" y="29240"/>
                    <a:pt x="34741" y="28715"/>
                  </a:cubicBezTo>
                  <a:cubicBezTo>
                    <a:pt x="34932" y="28604"/>
                    <a:pt x="35075" y="28397"/>
                    <a:pt x="35250" y="28223"/>
                  </a:cubicBezTo>
                  <a:cubicBezTo>
                    <a:pt x="35440" y="28032"/>
                    <a:pt x="35616" y="27825"/>
                    <a:pt x="35822" y="27650"/>
                  </a:cubicBezTo>
                  <a:cubicBezTo>
                    <a:pt x="35997" y="27523"/>
                    <a:pt x="36204" y="27428"/>
                    <a:pt x="36379" y="27284"/>
                  </a:cubicBezTo>
                  <a:cubicBezTo>
                    <a:pt x="36585" y="27125"/>
                    <a:pt x="36744" y="26902"/>
                    <a:pt x="36951" y="26728"/>
                  </a:cubicBezTo>
                  <a:cubicBezTo>
                    <a:pt x="37174" y="26537"/>
                    <a:pt x="37444" y="26410"/>
                    <a:pt x="37651" y="26219"/>
                  </a:cubicBezTo>
                  <a:cubicBezTo>
                    <a:pt x="37857" y="26044"/>
                    <a:pt x="38048" y="25901"/>
                    <a:pt x="38287" y="25774"/>
                  </a:cubicBezTo>
                  <a:cubicBezTo>
                    <a:pt x="38573" y="25630"/>
                    <a:pt x="38732" y="25344"/>
                    <a:pt x="39065" y="25185"/>
                  </a:cubicBezTo>
                  <a:cubicBezTo>
                    <a:pt x="39383" y="25043"/>
                    <a:pt x="39591" y="24693"/>
                    <a:pt x="39860" y="24422"/>
                  </a:cubicBezTo>
                  <a:cubicBezTo>
                    <a:pt x="39903" y="24422"/>
                    <a:pt x="39967" y="24436"/>
                    <a:pt x="40009" y="24436"/>
                  </a:cubicBezTo>
                  <a:cubicBezTo>
                    <a:pt x="40030" y="24436"/>
                    <a:pt x="40046" y="24433"/>
                    <a:pt x="40051" y="24422"/>
                  </a:cubicBezTo>
                  <a:cubicBezTo>
                    <a:pt x="40418" y="23930"/>
                    <a:pt x="41037" y="23754"/>
                    <a:pt x="41419" y="23277"/>
                  </a:cubicBezTo>
                  <a:cubicBezTo>
                    <a:pt x="41673" y="23214"/>
                    <a:pt x="41880" y="23055"/>
                    <a:pt x="42055" y="22849"/>
                  </a:cubicBezTo>
                  <a:cubicBezTo>
                    <a:pt x="42086" y="22817"/>
                    <a:pt x="42167" y="22817"/>
                    <a:pt x="42230" y="22800"/>
                  </a:cubicBezTo>
                  <a:cubicBezTo>
                    <a:pt x="42500" y="22705"/>
                    <a:pt x="42612" y="22340"/>
                    <a:pt x="42962" y="22340"/>
                  </a:cubicBezTo>
                  <a:cubicBezTo>
                    <a:pt x="43009" y="22340"/>
                    <a:pt x="43057" y="22244"/>
                    <a:pt x="43104" y="22196"/>
                  </a:cubicBezTo>
                  <a:cubicBezTo>
                    <a:pt x="43375" y="21926"/>
                    <a:pt x="43645" y="21655"/>
                    <a:pt x="44011" y="21465"/>
                  </a:cubicBezTo>
                  <a:cubicBezTo>
                    <a:pt x="44297" y="21337"/>
                    <a:pt x="44471" y="21051"/>
                    <a:pt x="44789" y="20892"/>
                  </a:cubicBezTo>
                  <a:cubicBezTo>
                    <a:pt x="45092" y="20733"/>
                    <a:pt x="45315" y="20432"/>
                    <a:pt x="45633" y="20241"/>
                  </a:cubicBezTo>
                  <a:cubicBezTo>
                    <a:pt x="45951" y="20066"/>
                    <a:pt x="46205" y="19764"/>
                    <a:pt x="46428" y="19478"/>
                  </a:cubicBezTo>
                  <a:cubicBezTo>
                    <a:pt x="46666" y="19175"/>
                    <a:pt x="47032" y="19112"/>
                    <a:pt x="47302" y="18842"/>
                  </a:cubicBezTo>
                  <a:cubicBezTo>
                    <a:pt x="47731" y="18397"/>
                    <a:pt x="48096" y="17856"/>
                    <a:pt x="48701" y="17617"/>
                  </a:cubicBezTo>
                  <a:lnTo>
                    <a:pt x="50736" y="15582"/>
                  </a:lnTo>
                  <a:cubicBezTo>
                    <a:pt x="50752" y="15359"/>
                    <a:pt x="50704" y="15264"/>
                    <a:pt x="50530" y="15264"/>
                  </a:cubicBezTo>
                  <a:cubicBezTo>
                    <a:pt x="50520" y="15265"/>
                    <a:pt x="50510" y="15265"/>
                    <a:pt x="50501" y="15265"/>
                  </a:cubicBezTo>
                  <a:cubicBezTo>
                    <a:pt x="50324" y="15265"/>
                    <a:pt x="50339" y="15114"/>
                    <a:pt x="50339" y="14978"/>
                  </a:cubicBezTo>
                  <a:cubicBezTo>
                    <a:pt x="50466" y="14835"/>
                    <a:pt x="50609" y="14691"/>
                    <a:pt x="50736" y="14549"/>
                  </a:cubicBezTo>
                  <a:cubicBezTo>
                    <a:pt x="50672" y="14470"/>
                    <a:pt x="50593" y="14454"/>
                    <a:pt x="50511" y="14454"/>
                  </a:cubicBezTo>
                  <a:cubicBezTo>
                    <a:pt x="50457" y="14454"/>
                    <a:pt x="50402" y="14461"/>
                    <a:pt x="50350" y="14461"/>
                  </a:cubicBezTo>
                  <a:cubicBezTo>
                    <a:pt x="50324" y="14461"/>
                    <a:pt x="50299" y="14459"/>
                    <a:pt x="50275" y="14454"/>
                  </a:cubicBezTo>
                  <a:cubicBezTo>
                    <a:pt x="50053" y="14549"/>
                    <a:pt x="49989" y="14835"/>
                    <a:pt x="49750" y="14850"/>
                  </a:cubicBezTo>
                  <a:cubicBezTo>
                    <a:pt x="49703" y="14740"/>
                    <a:pt x="49782" y="14596"/>
                    <a:pt x="49639" y="14469"/>
                  </a:cubicBezTo>
                  <a:cubicBezTo>
                    <a:pt x="49576" y="14517"/>
                    <a:pt x="49512" y="14581"/>
                    <a:pt x="49432" y="14644"/>
                  </a:cubicBezTo>
                  <a:lnTo>
                    <a:pt x="48717" y="14644"/>
                  </a:lnTo>
                  <a:cubicBezTo>
                    <a:pt x="48828" y="14422"/>
                    <a:pt x="48908" y="14246"/>
                    <a:pt x="49003" y="14072"/>
                  </a:cubicBezTo>
                  <a:cubicBezTo>
                    <a:pt x="49099" y="14055"/>
                    <a:pt x="49194" y="14024"/>
                    <a:pt x="49321" y="14008"/>
                  </a:cubicBezTo>
                  <a:cubicBezTo>
                    <a:pt x="49321" y="13865"/>
                    <a:pt x="49337" y="13737"/>
                    <a:pt x="49321" y="13610"/>
                  </a:cubicBezTo>
                  <a:cubicBezTo>
                    <a:pt x="49307" y="13448"/>
                    <a:pt x="49202" y="13436"/>
                    <a:pt x="49072" y="13436"/>
                  </a:cubicBezTo>
                  <a:cubicBezTo>
                    <a:pt x="49050" y="13436"/>
                    <a:pt x="49027" y="13436"/>
                    <a:pt x="49003" y="13436"/>
                  </a:cubicBezTo>
                  <a:cubicBezTo>
                    <a:pt x="48478" y="13977"/>
                    <a:pt x="47938" y="14532"/>
                    <a:pt x="47413" y="15073"/>
                  </a:cubicBezTo>
                  <a:cubicBezTo>
                    <a:pt x="47286" y="15073"/>
                    <a:pt x="47191" y="15073"/>
                    <a:pt x="47111" y="15058"/>
                  </a:cubicBezTo>
                  <a:cubicBezTo>
                    <a:pt x="47111" y="14787"/>
                    <a:pt x="47461" y="14740"/>
                    <a:pt x="47492" y="14422"/>
                  </a:cubicBezTo>
                  <a:cubicBezTo>
                    <a:pt x="47429" y="14310"/>
                    <a:pt x="47365" y="14183"/>
                    <a:pt x="47286" y="14055"/>
                  </a:cubicBezTo>
                  <a:cubicBezTo>
                    <a:pt x="47223" y="14055"/>
                    <a:pt x="47143" y="14055"/>
                    <a:pt x="47111" y="14040"/>
                  </a:cubicBezTo>
                  <a:cubicBezTo>
                    <a:pt x="47079" y="13913"/>
                    <a:pt x="47143" y="13849"/>
                    <a:pt x="47286" y="13849"/>
                  </a:cubicBezTo>
                  <a:cubicBezTo>
                    <a:pt x="47286" y="13706"/>
                    <a:pt x="47350" y="13642"/>
                    <a:pt x="47492" y="13642"/>
                  </a:cubicBezTo>
                  <a:cubicBezTo>
                    <a:pt x="47461" y="13515"/>
                    <a:pt x="47556" y="13372"/>
                    <a:pt x="47429" y="13277"/>
                  </a:cubicBezTo>
                  <a:cubicBezTo>
                    <a:pt x="47365" y="13260"/>
                    <a:pt x="47302" y="13245"/>
                    <a:pt x="47174" y="13229"/>
                  </a:cubicBezTo>
                  <a:cubicBezTo>
                    <a:pt x="46936" y="13515"/>
                    <a:pt x="46602" y="13754"/>
                    <a:pt x="46252" y="13992"/>
                  </a:cubicBezTo>
                  <a:cubicBezTo>
                    <a:pt x="45919" y="14214"/>
                    <a:pt x="45648" y="14564"/>
                    <a:pt x="45346" y="14882"/>
                  </a:cubicBezTo>
                  <a:cubicBezTo>
                    <a:pt x="45203" y="14708"/>
                    <a:pt x="45283" y="14532"/>
                    <a:pt x="45251" y="14342"/>
                  </a:cubicBezTo>
                  <a:cubicBezTo>
                    <a:pt x="45378" y="14231"/>
                    <a:pt x="45537" y="14087"/>
                    <a:pt x="45664" y="13992"/>
                  </a:cubicBezTo>
                  <a:lnTo>
                    <a:pt x="45664" y="13642"/>
                  </a:lnTo>
                  <a:cubicBezTo>
                    <a:pt x="45553" y="13706"/>
                    <a:pt x="45442" y="13769"/>
                    <a:pt x="45283" y="13865"/>
                  </a:cubicBezTo>
                  <a:cubicBezTo>
                    <a:pt x="45276" y="13866"/>
                    <a:pt x="45269" y="13867"/>
                    <a:pt x="45261" y="13867"/>
                  </a:cubicBezTo>
                  <a:cubicBezTo>
                    <a:pt x="45213" y="13867"/>
                    <a:pt x="45145" y="13846"/>
                    <a:pt x="45071" y="13846"/>
                  </a:cubicBezTo>
                  <a:cubicBezTo>
                    <a:pt x="45009" y="13846"/>
                    <a:pt x="44944" y="13860"/>
                    <a:pt x="44885" y="13913"/>
                  </a:cubicBezTo>
                  <a:cubicBezTo>
                    <a:pt x="44853" y="14024"/>
                    <a:pt x="44806" y="14136"/>
                    <a:pt x="44774" y="14246"/>
                  </a:cubicBezTo>
                  <a:lnTo>
                    <a:pt x="44520" y="14246"/>
                  </a:lnTo>
                  <a:cubicBezTo>
                    <a:pt x="44329" y="14454"/>
                    <a:pt x="44138" y="14676"/>
                    <a:pt x="43963" y="14867"/>
                  </a:cubicBezTo>
                  <a:lnTo>
                    <a:pt x="43629" y="14867"/>
                  </a:lnTo>
                  <a:cubicBezTo>
                    <a:pt x="43629" y="14899"/>
                    <a:pt x="43645" y="14946"/>
                    <a:pt x="43629" y="14962"/>
                  </a:cubicBezTo>
                  <a:lnTo>
                    <a:pt x="42309" y="16281"/>
                  </a:lnTo>
                  <a:lnTo>
                    <a:pt x="41991" y="16281"/>
                  </a:lnTo>
                  <a:lnTo>
                    <a:pt x="41991" y="16695"/>
                  </a:lnTo>
                  <a:cubicBezTo>
                    <a:pt x="41832" y="16695"/>
                    <a:pt x="41705" y="16695"/>
                    <a:pt x="41626" y="16680"/>
                  </a:cubicBezTo>
                  <a:cubicBezTo>
                    <a:pt x="41641" y="16472"/>
                    <a:pt x="41768" y="16345"/>
                    <a:pt x="41991" y="16281"/>
                  </a:cubicBezTo>
                  <a:cubicBezTo>
                    <a:pt x="41991" y="16250"/>
                    <a:pt x="41976" y="16203"/>
                    <a:pt x="41991" y="16186"/>
                  </a:cubicBezTo>
                  <a:lnTo>
                    <a:pt x="43311" y="14867"/>
                  </a:lnTo>
                  <a:lnTo>
                    <a:pt x="43629" y="14867"/>
                  </a:lnTo>
                  <a:cubicBezTo>
                    <a:pt x="43772" y="14581"/>
                    <a:pt x="43867" y="14263"/>
                    <a:pt x="44122" y="14055"/>
                  </a:cubicBezTo>
                  <a:cubicBezTo>
                    <a:pt x="44281" y="14055"/>
                    <a:pt x="44440" y="14040"/>
                    <a:pt x="44599" y="14040"/>
                  </a:cubicBezTo>
                  <a:cubicBezTo>
                    <a:pt x="44615" y="13627"/>
                    <a:pt x="44789" y="13341"/>
                    <a:pt x="44948" y="13038"/>
                  </a:cubicBezTo>
                  <a:lnTo>
                    <a:pt x="45156" y="13038"/>
                  </a:lnTo>
                  <a:cubicBezTo>
                    <a:pt x="45330" y="12911"/>
                    <a:pt x="45219" y="12656"/>
                    <a:pt x="45425" y="12529"/>
                  </a:cubicBezTo>
                  <a:cubicBezTo>
                    <a:pt x="45601" y="12434"/>
                    <a:pt x="45728" y="12275"/>
                    <a:pt x="45855" y="12116"/>
                  </a:cubicBezTo>
                  <a:cubicBezTo>
                    <a:pt x="45998" y="11941"/>
                    <a:pt x="46220" y="11846"/>
                    <a:pt x="46284" y="11575"/>
                  </a:cubicBezTo>
                  <a:cubicBezTo>
                    <a:pt x="46332" y="11416"/>
                    <a:pt x="46523" y="11274"/>
                    <a:pt x="46650" y="11130"/>
                  </a:cubicBezTo>
                  <a:lnTo>
                    <a:pt x="47079" y="10701"/>
                  </a:lnTo>
                  <a:lnTo>
                    <a:pt x="47079" y="10494"/>
                  </a:lnTo>
                  <a:lnTo>
                    <a:pt x="47286" y="10288"/>
                  </a:lnTo>
                  <a:lnTo>
                    <a:pt x="47286" y="9985"/>
                  </a:lnTo>
                  <a:cubicBezTo>
                    <a:pt x="47047" y="9906"/>
                    <a:pt x="46873" y="9779"/>
                    <a:pt x="46888" y="9398"/>
                  </a:cubicBezTo>
                  <a:cubicBezTo>
                    <a:pt x="46984" y="9317"/>
                    <a:pt x="47143" y="9207"/>
                    <a:pt x="47286" y="9063"/>
                  </a:cubicBezTo>
                  <a:cubicBezTo>
                    <a:pt x="47318" y="9016"/>
                    <a:pt x="47254" y="8872"/>
                    <a:pt x="47238" y="8777"/>
                  </a:cubicBezTo>
                  <a:cubicBezTo>
                    <a:pt x="47143" y="8777"/>
                    <a:pt x="47057" y="8751"/>
                    <a:pt x="46986" y="8751"/>
                  </a:cubicBezTo>
                  <a:cubicBezTo>
                    <a:pt x="46962" y="8751"/>
                    <a:pt x="46940" y="8754"/>
                    <a:pt x="46920" y="8762"/>
                  </a:cubicBezTo>
                  <a:cubicBezTo>
                    <a:pt x="46634" y="8889"/>
                    <a:pt x="46364" y="9031"/>
                    <a:pt x="46078" y="9175"/>
                  </a:cubicBezTo>
                  <a:lnTo>
                    <a:pt x="45569" y="9175"/>
                  </a:lnTo>
                  <a:cubicBezTo>
                    <a:pt x="45505" y="9239"/>
                    <a:pt x="45425" y="9302"/>
                    <a:pt x="45330" y="9381"/>
                  </a:cubicBezTo>
                  <a:cubicBezTo>
                    <a:pt x="45301" y="9366"/>
                    <a:pt x="45269" y="9362"/>
                    <a:pt x="45235" y="9362"/>
                  </a:cubicBezTo>
                  <a:cubicBezTo>
                    <a:pt x="45182" y="9362"/>
                    <a:pt x="45125" y="9373"/>
                    <a:pt x="45068" y="9373"/>
                  </a:cubicBezTo>
                  <a:cubicBezTo>
                    <a:pt x="45005" y="9373"/>
                    <a:pt x="44943" y="9359"/>
                    <a:pt x="44885" y="9302"/>
                  </a:cubicBezTo>
                  <a:lnTo>
                    <a:pt x="44838" y="9111"/>
                  </a:lnTo>
                  <a:cubicBezTo>
                    <a:pt x="45060" y="8745"/>
                    <a:pt x="45489" y="8554"/>
                    <a:pt x="45664" y="8173"/>
                  </a:cubicBezTo>
                  <a:cubicBezTo>
                    <a:pt x="45640" y="7985"/>
                    <a:pt x="45556" y="7948"/>
                    <a:pt x="45459" y="7948"/>
                  </a:cubicBezTo>
                  <a:cubicBezTo>
                    <a:pt x="45397" y="7948"/>
                    <a:pt x="45330" y="7963"/>
                    <a:pt x="45269" y="7963"/>
                  </a:cubicBezTo>
                  <a:cubicBezTo>
                    <a:pt x="45240" y="7963"/>
                    <a:pt x="45212" y="7960"/>
                    <a:pt x="45187" y="7950"/>
                  </a:cubicBezTo>
                  <a:cubicBezTo>
                    <a:pt x="44963" y="8039"/>
                    <a:pt x="44880" y="8352"/>
                    <a:pt x="44595" y="8352"/>
                  </a:cubicBezTo>
                  <a:cubicBezTo>
                    <a:pt x="44576" y="8352"/>
                    <a:pt x="44556" y="8351"/>
                    <a:pt x="44535" y="8348"/>
                  </a:cubicBezTo>
                  <a:lnTo>
                    <a:pt x="43820" y="9063"/>
                  </a:lnTo>
                  <a:cubicBezTo>
                    <a:pt x="43788" y="9095"/>
                    <a:pt x="43740" y="9111"/>
                    <a:pt x="43693" y="9127"/>
                  </a:cubicBezTo>
                  <a:cubicBezTo>
                    <a:pt x="43566" y="9016"/>
                    <a:pt x="43454" y="8889"/>
                    <a:pt x="43327" y="8762"/>
                  </a:cubicBezTo>
                  <a:cubicBezTo>
                    <a:pt x="43248" y="8825"/>
                    <a:pt x="43184" y="8904"/>
                    <a:pt x="43104" y="8968"/>
                  </a:cubicBezTo>
                  <a:lnTo>
                    <a:pt x="42818" y="8968"/>
                  </a:lnTo>
                  <a:cubicBezTo>
                    <a:pt x="42818" y="9111"/>
                    <a:pt x="42754" y="9175"/>
                    <a:pt x="42612" y="9175"/>
                  </a:cubicBezTo>
                  <a:cubicBezTo>
                    <a:pt x="42597" y="9043"/>
                    <a:pt x="42663" y="8966"/>
                    <a:pt x="42784" y="8966"/>
                  </a:cubicBezTo>
                  <a:cubicBezTo>
                    <a:pt x="42795" y="8966"/>
                    <a:pt x="42806" y="8966"/>
                    <a:pt x="42818" y="8968"/>
                  </a:cubicBezTo>
                  <a:cubicBezTo>
                    <a:pt x="42834" y="8745"/>
                    <a:pt x="42993" y="8618"/>
                    <a:pt x="43168" y="8571"/>
                  </a:cubicBezTo>
                  <a:cubicBezTo>
                    <a:pt x="43502" y="8459"/>
                    <a:pt x="43693" y="8236"/>
                    <a:pt x="43820" y="7950"/>
                  </a:cubicBezTo>
                  <a:lnTo>
                    <a:pt x="42993" y="7950"/>
                  </a:lnTo>
                  <a:cubicBezTo>
                    <a:pt x="42612" y="8126"/>
                    <a:pt x="42326" y="8332"/>
                    <a:pt x="42039" y="8554"/>
                  </a:cubicBezTo>
                  <a:cubicBezTo>
                    <a:pt x="41880" y="8681"/>
                    <a:pt x="41641" y="8713"/>
                    <a:pt x="41450" y="8809"/>
                  </a:cubicBezTo>
                  <a:cubicBezTo>
                    <a:pt x="41244" y="8904"/>
                    <a:pt x="41022" y="9016"/>
                    <a:pt x="40895" y="9175"/>
                  </a:cubicBezTo>
                  <a:cubicBezTo>
                    <a:pt x="40736" y="9381"/>
                    <a:pt x="40449" y="9317"/>
                    <a:pt x="40306" y="9525"/>
                  </a:cubicBezTo>
                  <a:cubicBezTo>
                    <a:pt x="40306" y="9527"/>
                    <a:pt x="40304" y="9528"/>
                    <a:pt x="40302" y="9528"/>
                  </a:cubicBezTo>
                  <a:cubicBezTo>
                    <a:pt x="40285" y="9528"/>
                    <a:pt x="40220" y="9491"/>
                    <a:pt x="40178" y="9476"/>
                  </a:cubicBezTo>
                  <a:cubicBezTo>
                    <a:pt x="40178" y="9413"/>
                    <a:pt x="40163" y="9349"/>
                    <a:pt x="40163" y="9302"/>
                  </a:cubicBezTo>
                  <a:cubicBezTo>
                    <a:pt x="40306" y="9080"/>
                    <a:pt x="40513" y="9016"/>
                    <a:pt x="40704" y="8904"/>
                  </a:cubicBezTo>
                  <a:cubicBezTo>
                    <a:pt x="40942" y="8777"/>
                    <a:pt x="41085" y="8522"/>
                    <a:pt x="41244" y="8363"/>
                  </a:cubicBezTo>
                  <a:cubicBezTo>
                    <a:pt x="41288" y="8353"/>
                    <a:pt x="41331" y="8351"/>
                    <a:pt x="41372" y="8351"/>
                  </a:cubicBezTo>
                  <a:cubicBezTo>
                    <a:pt x="41427" y="8351"/>
                    <a:pt x="41481" y="8356"/>
                    <a:pt x="41532" y="8356"/>
                  </a:cubicBezTo>
                  <a:cubicBezTo>
                    <a:pt x="41622" y="8356"/>
                    <a:pt x="41705" y="8340"/>
                    <a:pt x="41785" y="8253"/>
                  </a:cubicBezTo>
                  <a:cubicBezTo>
                    <a:pt x="41785" y="8189"/>
                    <a:pt x="41768" y="8094"/>
                    <a:pt x="41768" y="8014"/>
                  </a:cubicBezTo>
                  <a:cubicBezTo>
                    <a:pt x="41690" y="7982"/>
                    <a:pt x="41626" y="7950"/>
                    <a:pt x="41562" y="7950"/>
                  </a:cubicBezTo>
                  <a:cubicBezTo>
                    <a:pt x="41525" y="7941"/>
                    <a:pt x="41483" y="7932"/>
                    <a:pt x="41441" y="7932"/>
                  </a:cubicBezTo>
                  <a:cubicBezTo>
                    <a:pt x="41411" y="7932"/>
                    <a:pt x="41382" y="7937"/>
                    <a:pt x="41355" y="7950"/>
                  </a:cubicBezTo>
                  <a:cubicBezTo>
                    <a:pt x="41244" y="7998"/>
                    <a:pt x="41149" y="8141"/>
                    <a:pt x="41037" y="8141"/>
                  </a:cubicBezTo>
                  <a:cubicBezTo>
                    <a:pt x="41031" y="8141"/>
                    <a:pt x="41025" y="8140"/>
                    <a:pt x="41019" y="8140"/>
                  </a:cubicBezTo>
                  <a:cubicBezTo>
                    <a:pt x="40703" y="8140"/>
                    <a:pt x="40669" y="8523"/>
                    <a:pt x="40496" y="8539"/>
                  </a:cubicBezTo>
                  <a:cubicBezTo>
                    <a:pt x="40259" y="8554"/>
                    <a:pt x="40131" y="8571"/>
                    <a:pt x="40019" y="8571"/>
                  </a:cubicBezTo>
                  <a:cubicBezTo>
                    <a:pt x="39972" y="8730"/>
                    <a:pt x="39924" y="8840"/>
                    <a:pt x="39877" y="8968"/>
                  </a:cubicBezTo>
                  <a:cubicBezTo>
                    <a:pt x="39782" y="8952"/>
                    <a:pt x="39686" y="8936"/>
                    <a:pt x="39574" y="8921"/>
                  </a:cubicBezTo>
                  <a:lnTo>
                    <a:pt x="39574" y="8444"/>
                  </a:lnTo>
                  <a:cubicBezTo>
                    <a:pt x="39782" y="8236"/>
                    <a:pt x="39972" y="8045"/>
                    <a:pt x="40163" y="7839"/>
                  </a:cubicBezTo>
                  <a:cubicBezTo>
                    <a:pt x="40195" y="7808"/>
                    <a:pt x="40163" y="7712"/>
                    <a:pt x="40163" y="7649"/>
                  </a:cubicBezTo>
                  <a:cubicBezTo>
                    <a:pt x="40089" y="7561"/>
                    <a:pt x="40026" y="7529"/>
                    <a:pt x="39971" y="7529"/>
                  </a:cubicBezTo>
                  <a:cubicBezTo>
                    <a:pt x="39835" y="7529"/>
                    <a:pt x="39745" y="7717"/>
                    <a:pt x="39654" y="7727"/>
                  </a:cubicBezTo>
                  <a:cubicBezTo>
                    <a:pt x="39464" y="7744"/>
                    <a:pt x="39320" y="7759"/>
                    <a:pt x="39224" y="7759"/>
                  </a:cubicBezTo>
                  <a:cubicBezTo>
                    <a:pt x="39082" y="7918"/>
                    <a:pt x="38955" y="8030"/>
                    <a:pt x="38811" y="8189"/>
                  </a:cubicBezTo>
                  <a:cubicBezTo>
                    <a:pt x="38684" y="8126"/>
                    <a:pt x="38557" y="8045"/>
                    <a:pt x="38461" y="7998"/>
                  </a:cubicBezTo>
                  <a:cubicBezTo>
                    <a:pt x="38160" y="8126"/>
                    <a:pt x="37825" y="8204"/>
                    <a:pt x="37603" y="8412"/>
                  </a:cubicBezTo>
                  <a:cubicBezTo>
                    <a:pt x="37333" y="8634"/>
                    <a:pt x="36983" y="8459"/>
                    <a:pt x="36761" y="8762"/>
                  </a:cubicBezTo>
                  <a:cubicBezTo>
                    <a:pt x="36729" y="8634"/>
                    <a:pt x="36681" y="8554"/>
                    <a:pt x="36712" y="8522"/>
                  </a:cubicBezTo>
                  <a:cubicBezTo>
                    <a:pt x="36808" y="8395"/>
                    <a:pt x="36903" y="8189"/>
                    <a:pt x="37030" y="8173"/>
                  </a:cubicBezTo>
                  <a:cubicBezTo>
                    <a:pt x="37221" y="8141"/>
                    <a:pt x="37365" y="8062"/>
                    <a:pt x="37428" y="7918"/>
                  </a:cubicBezTo>
                  <a:cubicBezTo>
                    <a:pt x="37651" y="7426"/>
                    <a:pt x="38096" y="7060"/>
                    <a:pt x="38207" y="6519"/>
                  </a:cubicBezTo>
                  <a:lnTo>
                    <a:pt x="38461" y="6519"/>
                  </a:lnTo>
                  <a:cubicBezTo>
                    <a:pt x="38605" y="6249"/>
                    <a:pt x="38859" y="6137"/>
                    <a:pt x="39129" y="6027"/>
                  </a:cubicBezTo>
                  <a:cubicBezTo>
                    <a:pt x="39146" y="5931"/>
                    <a:pt x="39161" y="5836"/>
                    <a:pt x="39177" y="5819"/>
                  </a:cubicBezTo>
                  <a:cubicBezTo>
                    <a:pt x="39797" y="5518"/>
                    <a:pt x="40115" y="4993"/>
                    <a:pt x="40560" y="4596"/>
                  </a:cubicBezTo>
                  <a:cubicBezTo>
                    <a:pt x="40577" y="4579"/>
                    <a:pt x="40577" y="4532"/>
                    <a:pt x="40577" y="4500"/>
                  </a:cubicBezTo>
                  <a:lnTo>
                    <a:pt x="40560" y="4500"/>
                  </a:lnTo>
                  <a:cubicBezTo>
                    <a:pt x="40577" y="4373"/>
                    <a:pt x="40592" y="4246"/>
                    <a:pt x="40592" y="4102"/>
                  </a:cubicBezTo>
                  <a:cubicBezTo>
                    <a:pt x="40736" y="4166"/>
                    <a:pt x="40831" y="4198"/>
                    <a:pt x="40942" y="4261"/>
                  </a:cubicBezTo>
                  <a:cubicBezTo>
                    <a:pt x="40973" y="4055"/>
                    <a:pt x="40990" y="3880"/>
                    <a:pt x="41022" y="3721"/>
                  </a:cubicBezTo>
                  <a:cubicBezTo>
                    <a:pt x="41164" y="3642"/>
                    <a:pt x="41323" y="3737"/>
                    <a:pt x="41355" y="3546"/>
                  </a:cubicBezTo>
                  <a:cubicBezTo>
                    <a:pt x="41132" y="3403"/>
                    <a:pt x="40751" y="3419"/>
                    <a:pt x="40783" y="2989"/>
                  </a:cubicBezTo>
                  <a:cubicBezTo>
                    <a:pt x="40926" y="2830"/>
                    <a:pt x="41069" y="2656"/>
                    <a:pt x="41228" y="2465"/>
                  </a:cubicBezTo>
                  <a:cubicBezTo>
                    <a:pt x="41149" y="2370"/>
                    <a:pt x="41101" y="2306"/>
                    <a:pt x="41054" y="2243"/>
                  </a:cubicBezTo>
                  <a:cubicBezTo>
                    <a:pt x="40655" y="2385"/>
                    <a:pt x="40322" y="2544"/>
                    <a:pt x="40068" y="2862"/>
                  </a:cubicBezTo>
                  <a:cubicBezTo>
                    <a:pt x="39988" y="2783"/>
                    <a:pt x="39909" y="2720"/>
                    <a:pt x="39860" y="2671"/>
                  </a:cubicBezTo>
                  <a:lnTo>
                    <a:pt x="39464" y="2671"/>
                  </a:lnTo>
                  <a:cubicBezTo>
                    <a:pt x="39368" y="2735"/>
                    <a:pt x="39288" y="2799"/>
                    <a:pt x="39209" y="2879"/>
                  </a:cubicBezTo>
                  <a:lnTo>
                    <a:pt x="38620" y="2879"/>
                  </a:lnTo>
                  <a:cubicBezTo>
                    <a:pt x="38525" y="2989"/>
                    <a:pt x="38430" y="3085"/>
                    <a:pt x="38319" y="3165"/>
                  </a:cubicBezTo>
                  <a:cubicBezTo>
                    <a:pt x="38287" y="3197"/>
                    <a:pt x="38239" y="3212"/>
                    <a:pt x="38192" y="3228"/>
                  </a:cubicBezTo>
                  <a:cubicBezTo>
                    <a:pt x="38160" y="3165"/>
                    <a:pt x="38143" y="3101"/>
                    <a:pt x="38112" y="2974"/>
                  </a:cubicBezTo>
                  <a:cubicBezTo>
                    <a:pt x="38414" y="2671"/>
                    <a:pt x="38747" y="2353"/>
                    <a:pt x="38970" y="2131"/>
                  </a:cubicBezTo>
                  <a:cubicBezTo>
                    <a:pt x="39193" y="2035"/>
                    <a:pt x="39273" y="1988"/>
                    <a:pt x="39352" y="1957"/>
                  </a:cubicBezTo>
                  <a:cubicBezTo>
                    <a:pt x="39320" y="1717"/>
                    <a:pt x="39432" y="1463"/>
                    <a:pt x="39273" y="1257"/>
                  </a:cubicBezTo>
                  <a:cubicBezTo>
                    <a:pt x="39146" y="1336"/>
                    <a:pt x="39018" y="1399"/>
                    <a:pt x="38716" y="1575"/>
                  </a:cubicBezTo>
                  <a:cubicBezTo>
                    <a:pt x="38478" y="1988"/>
                    <a:pt x="37842" y="2243"/>
                    <a:pt x="37317" y="2703"/>
                  </a:cubicBezTo>
                  <a:cubicBezTo>
                    <a:pt x="37206" y="2624"/>
                    <a:pt x="37110" y="2544"/>
                    <a:pt x="37047" y="2497"/>
                  </a:cubicBezTo>
                  <a:cubicBezTo>
                    <a:pt x="36983" y="2460"/>
                    <a:pt x="36921" y="2452"/>
                    <a:pt x="36859" y="2452"/>
                  </a:cubicBezTo>
                  <a:cubicBezTo>
                    <a:pt x="36823" y="2452"/>
                    <a:pt x="36786" y="2455"/>
                    <a:pt x="36750" y="2455"/>
                  </a:cubicBezTo>
                  <a:cubicBezTo>
                    <a:pt x="36668" y="2455"/>
                    <a:pt x="36587" y="2442"/>
                    <a:pt x="36506" y="2353"/>
                  </a:cubicBezTo>
                  <a:cubicBezTo>
                    <a:pt x="36776" y="2004"/>
                    <a:pt x="37333" y="1957"/>
                    <a:pt x="37524" y="1463"/>
                  </a:cubicBezTo>
                  <a:cubicBezTo>
                    <a:pt x="37507" y="1416"/>
                    <a:pt x="37492" y="1336"/>
                    <a:pt x="37460" y="1225"/>
                  </a:cubicBezTo>
                  <a:cubicBezTo>
                    <a:pt x="37365" y="1304"/>
                    <a:pt x="37285" y="1368"/>
                    <a:pt x="37221" y="1431"/>
                  </a:cubicBezTo>
                  <a:cubicBezTo>
                    <a:pt x="37142" y="1368"/>
                    <a:pt x="37079" y="1304"/>
                    <a:pt x="36983" y="1225"/>
                  </a:cubicBezTo>
                  <a:cubicBezTo>
                    <a:pt x="36957" y="1238"/>
                    <a:pt x="36928" y="1242"/>
                    <a:pt x="36898" y="1242"/>
                  </a:cubicBezTo>
                  <a:cubicBezTo>
                    <a:pt x="36838" y="1242"/>
                    <a:pt x="36772" y="1226"/>
                    <a:pt x="36706" y="1226"/>
                  </a:cubicBezTo>
                  <a:cubicBezTo>
                    <a:pt x="36642" y="1226"/>
                    <a:pt x="36578" y="1242"/>
                    <a:pt x="36522" y="1304"/>
                  </a:cubicBezTo>
                  <a:cubicBezTo>
                    <a:pt x="36506" y="1399"/>
                    <a:pt x="36474" y="1495"/>
                    <a:pt x="36458" y="1590"/>
                  </a:cubicBezTo>
                  <a:cubicBezTo>
                    <a:pt x="36315" y="1654"/>
                    <a:pt x="36140" y="1639"/>
                    <a:pt x="36029" y="1798"/>
                  </a:cubicBezTo>
                  <a:cubicBezTo>
                    <a:pt x="35917" y="1972"/>
                    <a:pt x="35727" y="2020"/>
                    <a:pt x="35552" y="2099"/>
                  </a:cubicBezTo>
                  <a:cubicBezTo>
                    <a:pt x="35409" y="2163"/>
                    <a:pt x="35281" y="2306"/>
                    <a:pt x="35186" y="2449"/>
                  </a:cubicBezTo>
                  <a:cubicBezTo>
                    <a:pt x="35075" y="2640"/>
                    <a:pt x="34853" y="2624"/>
                    <a:pt x="34694" y="2735"/>
                  </a:cubicBezTo>
                  <a:cubicBezTo>
                    <a:pt x="34582" y="2830"/>
                    <a:pt x="34471" y="2958"/>
                    <a:pt x="34344" y="3085"/>
                  </a:cubicBezTo>
                  <a:cubicBezTo>
                    <a:pt x="34217" y="2894"/>
                    <a:pt x="34296" y="2720"/>
                    <a:pt x="34264" y="2529"/>
                  </a:cubicBezTo>
                  <a:cubicBezTo>
                    <a:pt x="34439" y="2402"/>
                    <a:pt x="34614" y="2290"/>
                    <a:pt x="34853" y="2131"/>
                  </a:cubicBezTo>
                  <a:cubicBezTo>
                    <a:pt x="34868" y="2084"/>
                    <a:pt x="34916" y="1957"/>
                    <a:pt x="34948" y="1845"/>
                  </a:cubicBezTo>
                  <a:lnTo>
                    <a:pt x="35171" y="1845"/>
                  </a:lnTo>
                  <a:cubicBezTo>
                    <a:pt x="35266" y="1734"/>
                    <a:pt x="35425" y="1670"/>
                    <a:pt x="35440" y="1495"/>
                  </a:cubicBezTo>
                  <a:cubicBezTo>
                    <a:pt x="35337" y="1443"/>
                    <a:pt x="35233" y="1430"/>
                    <a:pt x="35128" y="1430"/>
                  </a:cubicBezTo>
                  <a:cubicBezTo>
                    <a:pt x="35007" y="1430"/>
                    <a:pt x="34885" y="1448"/>
                    <a:pt x="34757" y="1448"/>
                  </a:cubicBezTo>
                  <a:cubicBezTo>
                    <a:pt x="34550" y="1654"/>
                    <a:pt x="34376" y="1893"/>
                    <a:pt x="34073" y="1940"/>
                  </a:cubicBezTo>
                  <a:cubicBezTo>
                    <a:pt x="34026" y="2116"/>
                    <a:pt x="34137" y="2290"/>
                    <a:pt x="33978" y="2433"/>
                  </a:cubicBezTo>
                  <a:cubicBezTo>
                    <a:pt x="33755" y="2449"/>
                    <a:pt x="33532" y="2465"/>
                    <a:pt x="33342" y="2465"/>
                  </a:cubicBezTo>
                  <a:cubicBezTo>
                    <a:pt x="33151" y="2624"/>
                    <a:pt x="33072" y="2830"/>
                    <a:pt x="32865" y="2847"/>
                  </a:cubicBezTo>
                  <a:cubicBezTo>
                    <a:pt x="32849" y="2767"/>
                    <a:pt x="32849" y="2656"/>
                    <a:pt x="32849" y="2544"/>
                  </a:cubicBezTo>
                  <a:cubicBezTo>
                    <a:pt x="33024" y="2370"/>
                    <a:pt x="33199" y="2147"/>
                    <a:pt x="33422" y="1988"/>
                  </a:cubicBezTo>
                  <a:cubicBezTo>
                    <a:pt x="33644" y="1813"/>
                    <a:pt x="33613" y="1495"/>
                    <a:pt x="33850" y="1352"/>
                  </a:cubicBezTo>
                  <a:cubicBezTo>
                    <a:pt x="34090" y="1209"/>
                    <a:pt x="34026" y="859"/>
                    <a:pt x="34264" y="716"/>
                  </a:cubicBezTo>
                  <a:cubicBezTo>
                    <a:pt x="33819" y="509"/>
                    <a:pt x="33772" y="462"/>
                    <a:pt x="33549" y="0"/>
                  </a:cubicBezTo>
                  <a:close/>
                </a:path>
              </a:pathLst>
            </a:cu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31953439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018 Custom Layout 1">
  <p:cSld name="018 Custom Layout 1">
    <p:spTree>
      <p:nvGrpSpPr>
        <p:cNvPr id="1" name="Shape 420"/>
        <p:cNvGrpSpPr/>
        <p:nvPr/>
      </p:nvGrpSpPr>
      <p:grpSpPr>
        <a:xfrm>
          <a:off x="0" y="0"/>
          <a:ext cx="0" cy="0"/>
          <a:chOff x="0" y="0"/>
          <a:chExt cx="0" cy="0"/>
        </a:xfrm>
      </p:grpSpPr>
      <p:sp>
        <p:nvSpPr>
          <p:cNvPr id="421" name="Google Shape;421;p23"/>
          <p:cNvSpPr txBox="1">
            <a:spLocks noGrp="1"/>
          </p:cNvSpPr>
          <p:nvPr>
            <p:ph type="subTitle" idx="1"/>
          </p:nvPr>
        </p:nvSpPr>
        <p:spPr>
          <a:xfrm>
            <a:off x="6130600" y="2516825"/>
            <a:ext cx="5581500" cy="717900"/>
          </a:xfrm>
          <a:prstGeom prst="rect">
            <a:avLst/>
          </a:prstGeom>
        </p:spPr>
        <p:txBody>
          <a:bodyPr spcFirstLastPara="1" wrap="square" lIns="121900" tIns="121900" rIns="121900" bIns="121900" anchor="t" anchorCtr="0">
            <a:noAutofit/>
          </a:bodyPr>
          <a:lstStyle>
            <a:lvl1pPr lvl="0" rtl="0">
              <a:spcBef>
                <a:spcPts val="0"/>
              </a:spcBef>
              <a:spcAft>
                <a:spcPts val="0"/>
              </a:spcAft>
              <a:buSzPts val="2100"/>
              <a:buNone/>
              <a:defRPr sz="2100" b="1"/>
            </a:lvl1pPr>
            <a:lvl2pPr lvl="1" rtl="0">
              <a:spcBef>
                <a:spcPts val="2100"/>
              </a:spcBef>
              <a:spcAft>
                <a:spcPts val="0"/>
              </a:spcAft>
              <a:buSzPts val="2100"/>
              <a:buNone/>
              <a:defRPr sz="2100" b="1"/>
            </a:lvl2pPr>
            <a:lvl3pPr lvl="2" rtl="0">
              <a:spcBef>
                <a:spcPts val="2100"/>
              </a:spcBef>
              <a:spcAft>
                <a:spcPts val="0"/>
              </a:spcAft>
              <a:buSzPts val="2100"/>
              <a:buNone/>
              <a:defRPr sz="2100" b="1"/>
            </a:lvl3pPr>
            <a:lvl4pPr lvl="3" rtl="0">
              <a:spcBef>
                <a:spcPts val="2100"/>
              </a:spcBef>
              <a:spcAft>
                <a:spcPts val="0"/>
              </a:spcAft>
              <a:buSzPts val="2100"/>
              <a:buNone/>
              <a:defRPr sz="2100" b="1"/>
            </a:lvl4pPr>
            <a:lvl5pPr lvl="4" rtl="0">
              <a:spcBef>
                <a:spcPts val="2100"/>
              </a:spcBef>
              <a:spcAft>
                <a:spcPts val="0"/>
              </a:spcAft>
              <a:buSzPts val="2100"/>
              <a:buNone/>
              <a:defRPr sz="2100" b="1"/>
            </a:lvl5pPr>
            <a:lvl6pPr lvl="5" rtl="0">
              <a:spcBef>
                <a:spcPts val="2100"/>
              </a:spcBef>
              <a:spcAft>
                <a:spcPts val="0"/>
              </a:spcAft>
              <a:buSzPts val="2100"/>
              <a:buNone/>
              <a:defRPr sz="2100" b="1"/>
            </a:lvl6pPr>
            <a:lvl7pPr lvl="6" rtl="0">
              <a:spcBef>
                <a:spcPts val="2100"/>
              </a:spcBef>
              <a:spcAft>
                <a:spcPts val="0"/>
              </a:spcAft>
              <a:buSzPts val="2100"/>
              <a:buNone/>
              <a:defRPr sz="2100" b="1"/>
            </a:lvl7pPr>
            <a:lvl8pPr lvl="7" rtl="0">
              <a:spcBef>
                <a:spcPts val="2100"/>
              </a:spcBef>
              <a:spcAft>
                <a:spcPts val="0"/>
              </a:spcAft>
              <a:buSzPts val="2100"/>
              <a:buNone/>
              <a:defRPr sz="2100" b="1"/>
            </a:lvl8pPr>
            <a:lvl9pPr lvl="8" rtl="0">
              <a:spcBef>
                <a:spcPts val="2100"/>
              </a:spcBef>
              <a:spcAft>
                <a:spcPts val="2100"/>
              </a:spcAft>
              <a:buSzPts val="2100"/>
              <a:buNone/>
              <a:defRPr sz="2100" b="1"/>
            </a:lvl9pPr>
          </a:lstStyle>
          <a:p>
            <a:endParaRPr/>
          </a:p>
        </p:txBody>
      </p:sp>
      <p:sp>
        <p:nvSpPr>
          <p:cNvPr id="422" name="Google Shape;422;p23"/>
          <p:cNvSpPr txBox="1">
            <a:spLocks noGrp="1"/>
          </p:cNvSpPr>
          <p:nvPr>
            <p:ph type="title"/>
          </p:nvPr>
        </p:nvSpPr>
        <p:spPr>
          <a:xfrm>
            <a:off x="6130600" y="974375"/>
            <a:ext cx="5581500" cy="763500"/>
          </a:xfrm>
          <a:prstGeom prst="rect">
            <a:avLst/>
          </a:prstGeom>
        </p:spPr>
        <p:txBody>
          <a:bodyPr spcFirstLastPara="1" wrap="square" lIns="121900" tIns="121900" rIns="121900" bIns="121900" anchor="t" anchorCtr="0">
            <a:noAutofit/>
          </a:bodyPr>
          <a:lstStyle>
            <a:lvl1pPr marL="0" marR="0" lvl="0" indent="0" algn="l" rtl="0">
              <a:lnSpc>
                <a:spcPct val="100000"/>
              </a:lnSpc>
              <a:spcBef>
                <a:spcPts val="0"/>
              </a:spcBef>
              <a:spcAft>
                <a:spcPts val="0"/>
              </a:spcAft>
              <a:buClr>
                <a:schemeClr val="dk1"/>
              </a:buClr>
              <a:buSzPts val="7000"/>
              <a:buFont typeface="Aldrich"/>
              <a:buNone/>
              <a:defRPr sz="7000"/>
            </a:lvl1pPr>
            <a:lvl2pPr lvl="1"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2pPr>
            <a:lvl3pPr lvl="2"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3pPr>
            <a:lvl4pPr lvl="3"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4pPr>
            <a:lvl5pPr lvl="4"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5pPr>
            <a:lvl6pPr lvl="5"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6pPr>
            <a:lvl7pPr lvl="6"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7pPr>
            <a:lvl8pPr lvl="7"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8pPr>
            <a:lvl9pPr lvl="8" rtl="0">
              <a:spcBef>
                <a:spcPts val="0"/>
              </a:spcBef>
              <a:spcAft>
                <a:spcPts val="0"/>
              </a:spcAft>
              <a:buClr>
                <a:schemeClr val="dk1"/>
              </a:buClr>
              <a:buSzPts val="8000"/>
              <a:buFont typeface="Abril Fatface"/>
              <a:buNone/>
              <a:defRPr sz="8000">
                <a:solidFill>
                  <a:schemeClr val="dk1"/>
                </a:solidFill>
                <a:latin typeface="Abril Fatface"/>
                <a:ea typeface="Abril Fatface"/>
                <a:cs typeface="Abril Fatface"/>
                <a:sym typeface="Abril Fatface"/>
              </a:defRPr>
            </a:lvl9pPr>
          </a:lstStyle>
          <a:p>
            <a:endParaRPr/>
          </a:p>
        </p:txBody>
      </p:sp>
      <p:sp>
        <p:nvSpPr>
          <p:cNvPr id="423" name="Google Shape;423;p23"/>
          <p:cNvSpPr txBox="1">
            <a:spLocks noGrp="1"/>
          </p:cNvSpPr>
          <p:nvPr>
            <p:ph type="body" idx="2"/>
          </p:nvPr>
        </p:nvSpPr>
        <p:spPr>
          <a:xfrm>
            <a:off x="6130650" y="3381625"/>
            <a:ext cx="5581500" cy="1341600"/>
          </a:xfrm>
          <a:prstGeom prst="rect">
            <a:avLst/>
          </a:prstGeom>
        </p:spPr>
        <p:txBody>
          <a:bodyPr spcFirstLastPara="1" wrap="square" lIns="121900" tIns="121900" rIns="121900" bIns="121900" anchor="t" anchorCtr="0">
            <a:noAutofit/>
          </a:bodyPr>
          <a:lstStyle>
            <a:lvl1pPr marL="457200" lvl="0" indent="-368300">
              <a:lnSpc>
                <a:spcPct val="100000"/>
              </a:lnSpc>
              <a:spcBef>
                <a:spcPts val="0"/>
              </a:spcBef>
              <a:spcAft>
                <a:spcPts val="0"/>
              </a:spcAft>
              <a:buSzPts val="2200"/>
              <a:buChar char="●"/>
              <a:defRPr/>
            </a:lvl1pPr>
            <a:lvl2pPr marL="914400" lvl="1" indent="-368300">
              <a:lnSpc>
                <a:spcPct val="100000"/>
              </a:lnSpc>
              <a:spcBef>
                <a:spcPts val="0"/>
              </a:spcBef>
              <a:spcAft>
                <a:spcPts val="0"/>
              </a:spcAft>
              <a:buSzPts val="2200"/>
              <a:buChar char="○"/>
              <a:defRPr/>
            </a:lvl2pPr>
            <a:lvl3pPr marL="1371600" lvl="2" indent="-368300">
              <a:lnSpc>
                <a:spcPct val="100000"/>
              </a:lnSpc>
              <a:spcBef>
                <a:spcPts val="0"/>
              </a:spcBef>
              <a:spcAft>
                <a:spcPts val="0"/>
              </a:spcAft>
              <a:buSzPts val="2200"/>
              <a:buChar char="■"/>
              <a:defRPr/>
            </a:lvl3pPr>
            <a:lvl4pPr marL="1828800" lvl="3" indent="-368300">
              <a:lnSpc>
                <a:spcPct val="100000"/>
              </a:lnSpc>
              <a:spcBef>
                <a:spcPts val="0"/>
              </a:spcBef>
              <a:spcAft>
                <a:spcPts val="0"/>
              </a:spcAft>
              <a:buSzPts val="2200"/>
              <a:buChar char="●"/>
              <a:defRPr/>
            </a:lvl4pPr>
            <a:lvl5pPr marL="2286000" lvl="4" indent="-368300">
              <a:lnSpc>
                <a:spcPct val="100000"/>
              </a:lnSpc>
              <a:spcBef>
                <a:spcPts val="0"/>
              </a:spcBef>
              <a:spcAft>
                <a:spcPts val="0"/>
              </a:spcAft>
              <a:buSzPts val="2200"/>
              <a:buChar char="○"/>
              <a:defRPr/>
            </a:lvl5pPr>
            <a:lvl6pPr marL="2743200" lvl="5" indent="-368300">
              <a:lnSpc>
                <a:spcPct val="100000"/>
              </a:lnSpc>
              <a:spcBef>
                <a:spcPts val="0"/>
              </a:spcBef>
              <a:spcAft>
                <a:spcPts val="0"/>
              </a:spcAft>
              <a:buSzPts val="2200"/>
              <a:buChar char="■"/>
              <a:defRPr/>
            </a:lvl6pPr>
            <a:lvl7pPr marL="3200400" lvl="6" indent="-368300">
              <a:lnSpc>
                <a:spcPct val="100000"/>
              </a:lnSpc>
              <a:spcBef>
                <a:spcPts val="0"/>
              </a:spcBef>
              <a:spcAft>
                <a:spcPts val="0"/>
              </a:spcAft>
              <a:buSzPts val="2200"/>
              <a:buChar char="●"/>
              <a:defRPr/>
            </a:lvl7pPr>
            <a:lvl8pPr marL="3657600" lvl="7" indent="-368300">
              <a:lnSpc>
                <a:spcPct val="100000"/>
              </a:lnSpc>
              <a:spcBef>
                <a:spcPts val="0"/>
              </a:spcBef>
              <a:spcAft>
                <a:spcPts val="0"/>
              </a:spcAft>
              <a:buSzPts val="2200"/>
              <a:buChar char="○"/>
              <a:defRPr/>
            </a:lvl8pPr>
            <a:lvl9pPr marL="4114800" lvl="8" indent="-368300">
              <a:lnSpc>
                <a:spcPct val="100000"/>
              </a:lnSpc>
              <a:spcBef>
                <a:spcPts val="0"/>
              </a:spcBef>
              <a:spcAft>
                <a:spcPts val="0"/>
              </a:spcAft>
              <a:buSzPts val="2200"/>
              <a:buChar char="■"/>
              <a:defRPr/>
            </a:lvl9pPr>
          </a:lstStyle>
          <a:p>
            <a:endParaRPr/>
          </a:p>
        </p:txBody>
      </p:sp>
      <p:grpSp>
        <p:nvGrpSpPr>
          <p:cNvPr id="424" name="Google Shape;424;p23"/>
          <p:cNvGrpSpPr/>
          <p:nvPr/>
        </p:nvGrpSpPr>
        <p:grpSpPr>
          <a:xfrm>
            <a:off x="242280" y="525132"/>
            <a:ext cx="4501383" cy="6333099"/>
            <a:chOff x="7139197" y="345537"/>
            <a:chExt cx="4680652" cy="6585317"/>
          </a:xfrm>
        </p:grpSpPr>
        <p:sp>
          <p:nvSpPr>
            <p:cNvPr id="425" name="Google Shape;425;p23"/>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6" name="Google Shape;426;p23"/>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7" name="Google Shape;427;p23"/>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8" name="Google Shape;428;p23"/>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9" name="Google Shape;429;p23"/>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0" name="Google Shape;430;p23"/>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431" name="Google Shape;431;p23"/>
          <p:cNvGrpSpPr/>
          <p:nvPr/>
        </p:nvGrpSpPr>
        <p:grpSpPr>
          <a:xfrm>
            <a:off x="1178102" y="1409396"/>
            <a:ext cx="3886345" cy="5467789"/>
            <a:chOff x="7139197" y="345537"/>
            <a:chExt cx="4680652" cy="6585317"/>
          </a:xfrm>
        </p:grpSpPr>
        <p:sp>
          <p:nvSpPr>
            <p:cNvPr id="432" name="Google Shape;432;p23"/>
            <p:cNvSpPr/>
            <p:nvPr/>
          </p:nvSpPr>
          <p:spPr>
            <a:xfrm>
              <a:off x="7139197" y="1253080"/>
              <a:ext cx="4310945" cy="5677774"/>
            </a:xfrm>
            <a:custGeom>
              <a:avLst/>
              <a:gdLst/>
              <a:ahLst/>
              <a:cxnLst/>
              <a:rect l="l" t="t" r="r" b="b"/>
              <a:pathLst>
                <a:path w="4310945" h="5677774" extrusionOk="0">
                  <a:moveTo>
                    <a:pt x="4245239" y="1994692"/>
                  </a:moveTo>
                  <a:cubicBezTo>
                    <a:pt x="4282348" y="1976091"/>
                    <a:pt x="4301312" y="1950879"/>
                    <a:pt x="4310317" y="2022433"/>
                  </a:cubicBezTo>
                  <a:cubicBezTo>
                    <a:pt x="4319367" y="2093992"/>
                    <a:pt x="4228230" y="2649699"/>
                    <a:pt x="4194895" y="2711507"/>
                  </a:cubicBezTo>
                  <a:cubicBezTo>
                    <a:pt x="4174657" y="2748940"/>
                    <a:pt x="4089206" y="3210468"/>
                    <a:pt x="4039453" y="3316767"/>
                  </a:cubicBezTo>
                  <a:cubicBezTo>
                    <a:pt x="3989655" y="3423047"/>
                    <a:pt x="3967007" y="3392669"/>
                    <a:pt x="3865229" y="3528373"/>
                  </a:cubicBezTo>
                  <a:cubicBezTo>
                    <a:pt x="3865229" y="3528373"/>
                    <a:pt x="3781277" y="3687635"/>
                    <a:pt x="3730388" y="3738524"/>
                  </a:cubicBezTo>
                  <a:cubicBezTo>
                    <a:pt x="3679499" y="3789414"/>
                    <a:pt x="3636614" y="3841668"/>
                    <a:pt x="3628928" y="3870546"/>
                  </a:cubicBezTo>
                  <a:cubicBezTo>
                    <a:pt x="3621243" y="3899424"/>
                    <a:pt x="3568034" y="4526240"/>
                    <a:pt x="3589544" y="4696053"/>
                  </a:cubicBezTo>
                  <a:cubicBezTo>
                    <a:pt x="3589544" y="4874915"/>
                    <a:pt x="3592910" y="5319094"/>
                    <a:pt x="3578494" y="5382444"/>
                  </a:cubicBezTo>
                  <a:cubicBezTo>
                    <a:pt x="3564077" y="5445794"/>
                    <a:pt x="3549479" y="5529791"/>
                    <a:pt x="3549479" y="5601054"/>
                  </a:cubicBezTo>
                  <a:cubicBezTo>
                    <a:pt x="3549479" y="5601054"/>
                    <a:pt x="3557938" y="5662266"/>
                    <a:pt x="3514006" y="5666177"/>
                  </a:cubicBezTo>
                  <a:cubicBezTo>
                    <a:pt x="3470121" y="5670088"/>
                    <a:pt x="1232630" y="5677774"/>
                    <a:pt x="1232630" y="5677774"/>
                  </a:cubicBezTo>
                  <a:cubicBezTo>
                    <a:pt x="1232630" y="5677774"/>
                    <a:pt x="1145814" y="5677683"/>
                    <a:pt x="1229447" y="5074334"/>
                  </a:cubicBezTo>
                  <a:cubicBezTo>
                    <a:pt x="1313034" y="4470985"/>
                    <a:pt x="1359421" y="4257377"/>
                    <a:pt x="1444555" y="3765765"/>
                  </a:cubicBezTo>
                  <a:cubicBezTo>
                    <a:pt x="1476662" y="3692365"/>
                    <a:pt x="1133580" y="3346373"/>
                    <a:pt x="858291" y="2866490"/>
                  </a:cubicBezTo>
                  <a:cubicBezTo>
                    <a:pt x="577464" y="2376934"/>
                    <a:pt x="0" y="1773407"/>
                    <a:pt x="0" y="1591093"/>
                  </a:cubicBezTo>
                  <a:cubicBezTo>
                    <a:pt x="0" y="1408783"/>
                    <a:pt x="821605" y="-39106"/>
                    <a:pt x="1081554" y="810"/>
                  </a:cubicBezTo>
                  <a:cubicBezTo>
                    <a:pt x="1302484" y="34736"/>
                    <a:pt x="2593543" y="586673"/>
                    <a:pt x="2614417" y="658164"/>
                  </a:cubicBezTo>
                  <a:cubicBezTo>
                    <a:pt x="2635337" y="729654"/>
                    <a:pt x="2606731" y="1075078"/>
                    <a:pt x="2484170" y="1132130"/>
                  </a:cubicBezTo>
                  <a:cubicBezTo>
                    <a:pt x="2361608" y="1189186"/>
                    <a:pt x="1989011" y="1334941"/>
                    <a:pt x="1781361" y="1289500"/>
                  </a:cubicBezTo>
                  <a:cubicBezTo>
                    <a:pt x="1781361" y="1289500"/>
                    <a:pt x="1478845" y="960230"/>
                    <a:pt x="1370518" y="909754"/>
                  </a:cubicBezTo>
                  <a:cubicBezTo>
                    <a:pt x="1370518" y="909754"/>
                    <a:pt x="1342003" y="929309"/>
                    <a:pt x="1377112" y="1018300"/>
                  </a:cubicBezTo>
                  <a:cubicBezTo>
                    <a:pt x="1412221" y="1107285"/>
                    <a:pt x="1329816" y="1333950"/>
                    <a:pt x="1198477" y="1425469"/>
                  </a:cubicBezTo>
                  <a:cubicBezTo>
                    <a:pt x="1198477" y="1425469"/>
                    <a:pt x="1099154" y="1439739"/>
                    <a:pt x="1107203" y="1456389"/>
                  </a:cubicBezTo>
                  <a:cubicBezTo>
                    <a:pt x="1115298" y="1473042"/>
                    <a:pt x="1130806" y="1496027"/>
                    <a:pt x="1244591" y="1511153"/>
                  </a:cubicBezTo>
                  <a:cubicBezTo>
                    <a:pt x="1358421" y="1526278"/>
                    <a:pt x="1433004" y="1587973"/>
                    <a:pt x="1477162" y="1610162"/>
                  </a:cubicBezTo>
                  <a:cubicBezTo>
                    <a:pt x="1521367" y="1632345"/>
                    <a:pt x="1679037" y="1664862"/>
                    <a:pt x="1769491" y="1717975"/>
                  </a:cubicBezTo>
                  <a:cubicBezTo>
                    <a:pt x="1859946" y="1771088"/>
                    <a:pt x="2831936" y="3207603"/>
                    <a:pt x="2830890" y="3276392"/>
                  </a:cubicBezTo>
                  <a:cubicBezTo>
                    <a:pt x="2829844" y="3345190"/>
                    <a:pt x="2520552" y="3574669"/>
                    <a:pt x="2384392" y="3587357"/>
                  </a:cubicBezTo>
                  <a:cubicBezTo>
                    <a:pt x="2384392" y="3587357"/>
                    <a:pt x="2361926" y="3587494"/>
                    <a:pt x="2384392" y="3609960"/>
                  </a:cubicBezTo>
                  <a:cubicBezTo>
                    <a:pt x="2406858" y="3632426"/>
                    <a:pt x="2678086" y="3605685"/>
                    <a:pt x="2706782" y="3634381"/>
                  </a:cubicBezTo>
                  <a:cubicBezTo>
                    <a:pt x="2735478" y="3663078"/>
                    <a:pt x="2715923" y="3737524"/>
                    <a:pt x="2736842" y="3807241"/>
                  </a:cubicBezTo>
                  <a:cubicBezTo>
                    <a:pt x="2757762" y="3876913"/>
                    <a:pt x="2838848" y="4404315"/>
                    <a:pt x="2820930" y="4489539"/>
                  </a:cubicBezTo>
                  <a:cubicBezTo>
                    <a:pt x="2820930" y="4489539"/>
                    <a:pt x="2811334" y="4561394"/>
                    <a:pt x="2839030" y="4618878"/>
                  </a:cubicBezTo>
                  <a:cubicBezTo>
                    <a:pt x="2851309" y="4688594"/>
                    <a:pt x="2871183" y="4992520"/>
                    <a:pt x="2863406" y="5019261"/>
                  </a:cubicBezTo>
                  <a:cubicBezTo>
                    <a:pt x="2855675" y="5045956"/>
                    <a:pt x="2880869" y="5071151"/>
                    <a:pt x="2880869" y="5071151"/>
                  </a:cubicBezTo>
                  <a:cubicBezTo>
                    <a:pt x="2880869" y="5071151"/>
                    <a:pt x="2908656" y="5057916"/>
                    <a:pt x="2908656" y="5006618"/>
                  </a:cubicBezTo>
                  <a:cubicBezTo>
                    <a:pt x="2908656" y="4955274"/>
                    <a:pt x="2841759" y="3819429"/>
                    <a:pt x="2890875" y="3775452"/>
                  </a:cubicBezTo>
                  <a:cubicBezTo>
                    <a:pt x="2890875" y="3775452"/>
                    <a:pt x="2936898" y="3716786"/>
                    <a:pt x="2976827" y="3716786"/>
                  </a:cubicBezTo>
                  <a:cubicBezTo>
                    <a:pt x="3016802" y="3716786"/>
                    <a:pt x="3089474" y="3643886"/>
                    <a:pt x="3122855" y="3625831"/>
                  </a:cubicBezTo>
                  <a:cubicBezTo>
                    <a:pt x="3122855" y="3625831"/>
                    <a:pt x="3141774" y="3602729"/>
                    <a:pt x="3091157" y="3576034"/>
                  </a:cubicBezTo>
                  <a:cubicBezTo>
                    <a:pt x="3040541" y="3549293"/>
                    <a:pt x="2946857" y="3490991"/>
                    <a:pt x="2903017" y="3304488"/>
                  </a:cubicBezTo>
                  <a:cubicBezTo>
                    <a:pt x="2850081" y="3213492"/>
                    <a:pt x="2792597" y="3003932"/>
                    <a:pt x="2710557" y="2813700"/>
                  </a:cubicBezTo>
                  <a:cubicBezTo>
                    <a:pt x="2628515" y="2623468"/>
                    <a:pt x="2648116" y="2648057"/>
                    <a:pt x="2648116" y="2648057"/>
                  </a:cubicBezTo>
                  <a:cubicBezTo>
                    <a:pt x="2648116" y="2648057"/>
                    <a:pt x="2214398" y="2127131"/>
                    <a:pt x="2081239" y="1951770"/>
                  </a:cubicBezTo>
                  <a:cubicBezTo>
                    <a:pt x="2081239" y="1951770"/>
                    <a:pt x="2008021" y="1855062"/>
                    <a:pt x="2081239" y="1859128"/>
                  </a:cubicBezTo>
                  <a:cubicBezTo>
                    <a:pt x="2154458" y="1863189"/>
                    <a:pt x="2726201" y="1983964"/>
                    <a:pt x="2810379" y="2017367"/>
                  </a:cubicBezTo>
                  <a:cubicBezTo>
                    <a:pt x="2894558" y="2050774"/>
                    <a:pt x="3051455" y="2038668"/>
                    <a:pt x="3179657" y="2197835"/>
                  </a:cubicBezTo>
                  <a:cubicBezTo>
                    <a:pt x="3328504" y="2329874"/>
                    <a:pt x="3440288" y="2453887"/>
                    <a:pt x="3490813" y="2472901"/>
                  </a:cubicBezTo>
                  <a:cubicBezTo>
                    <a:pt x="3490813" y="2472901"/>
                    <a:pt x="3531151" y="2499901"/>
                    <a:pt x="3547251" y="2537974"/>
                  </a:cubicBezTo>
                  <a:cubicBezTo>
                    <a:pt x="3563304" y="2576053"/>
                    <a:pt x="3593183" y="2576999"/>
                    <a:pt x="3609828" y="2553678"/>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3" name="Google Shape;433;p23"/>
            <p:cNvSpPr/>
            <p:nvPr/>
          </p:nvSpPr>
          <p:spPr>
            <a:xfrm>
              <a:off x="10365837" y="2199456"/>
              <a:ext cx="1454012" cy="1530858"/>
            </a:xfrm>
            <a:custGeom>
              <a:avLst/>
              <a:gdLst/>
              <a:ahLst/>
              <a:cxnLst/>
              <a:rect l="l" t="t" r="r" b="b"/>
              <a:pathLst>
                <a:path w="1454012" h="1530858" extrusionOk="0">
                  <a:moveTo>
                    <a:pt x="1422165" y="383722"/>
                  </a:moveTo>
                  <a:lnTo>
                    <a:pt x="1125653" y="80232"/>
                  </a:lnTo>
                  <a:cubicBezTo>
                    <a:pt x="1078629" y="31521"/>
                    <a:pt x="972757" y="-32747"/>
                    <a:pt x="918776" y="19370"/>
                  </a:cubicBezTo>
                  <a:lnTo>
                    <a:pt x="44517" y="1066238"/>
                  </a:lnTo>
                  <a:cubicBezTo>
                    <a:pt x="-9465" y="1118351"/>
                    <a:pt x="-15149" y="1200847"/>
                    <a:pt x="31829" y="1249558"/>
                  </a:cubicBezTo>
                  <a:lnTo>
                    <a:pt x="269812" y="1496068"/>
                  </a:lnTo>
                  <a:cubicBezTo>
                    <a:pt x="316836" y="1544779"/>
                    <a:pt x="399468" y="1541996"/>
                    <a:pt x="453450" y="1489879"/>
                  </a:cubicBezTo>
                  <a:lnTo>
                    <a:pt x="1409477" y="567041"/>
                  </a:lnTo>
                  <a:cubicBezTo>
                    <a:pt x="1463459" y="514929"/>
                    <a:pt x="1469189" y="432432"/>
                    <a:pt x="1422165" y="383722"/>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4" name="Google Shape;434;p23"/>
            <p:cNvSpPr/>
            <p:nvPr/>
          </p:nvSpPr>
          <p:spPr>
            <a:xfrm>
              <a:off x="9617088" y="1502790"/>
              <a:ext cx="1594334" cy="1771502"/>
            </a:xfrm>
            <a:custGeom>
              <a:avLst/>
              <a:gdLst/>
              <a:ahLst/>
              <a:cxnLst/>
              <a:rect l="l" t="t" r="r" b="b"/>
              <a:pathLst>
                <a:path w="1594334" h="1771502" extrusionOk="0">
                  <a:moveTo>
                    <a:pt x="1513356" y="396821"/>
                  </a:moveTo>
                  <a:lnTo>
                    <a:pt x="1158086" y="45789"/>
                  </a:lnTo>
                  <a:cubicBezTo>
                    <a:pt x="1065858" y="-27088"/>
                    <a:pt x="930744" y="-11244"/>
                    <a:pt x="857889" y="81003"/>
                  </a:cubicBezTo>
                  <a:lnTo>
                    <a:pt x="45798" y="1242679"/>
                  </a:lnTo>
                  <a:cubicBezTo>
                    <a:pt x="-27102" y="1334921"/>
                    <a:pt x="-11230" y="1470021"/>
                    <a:pt x="80998" y="1542898"/>
                  </a:cubicBezTo>
                  <a:lnTo>
                    <a:pt x="463418" y="1725713"/>
                  </a:lnTo>
                  <a:cubicBezTo>
                    <a:pt x="555691" y="1798590"/>
                    <a:pt x="690760" y="1782746"/>
                    <a:pt x="763660" y="1690504"/>
                  </a:cubicBezTo>
                  <a:lnTo>
                    <a:pt x="1548556" y="697045"/>
                  </a:lnTo>
                  <a:cubicBezTo>
                    <a:pt x="1621411" y="604803"/>
                    <a:pt x="1605584" y="469703"/>
                    <a:pt x="1513356" y="39682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5" name="Google Shape;435;p23"/>
            <p:cNvSpPr/>
            <p:nvPr/>
          </p:nvSpPr>
          <p:spPr>
            <a:xfrm>
              <a:off x="8412450" y="345537"/>
              <a:ext cx="1263178" cy="1187139"/>
            </a:xfrm>
            <a:custGeom>
              <a:avLst/>
              <a:gdLst/>
              <a:ahLst/>
              <a:cxnLst/>
              <a:rect l="l" t="t" r="r" b="b"/>
              <a:pathLst>
                <a:path w="1263178" h="1187139" extrusionOk="0">
                  <a:moveTo>
                    <a:pt x="608477" y="1153100"/>
                  </a:moveTo>
                  <a:lnTo>
                    <a:pt x="174485" y="966819"/>
                  </a:lnTo>
                  <a:cubicBezTo>
                    <a:pt x="128644" y="937396"/>
                    <a:pt x="15041" y="880453"/>
                    <a:pt x="1489" y="831488"/>
                  </a:cubicBezTo>
                  <a:cubicBezTo>
                    <a:pt x="-14246" y="774832"/>
                    <a:pt x="99175" y="677496"/>
                    <a:pt x="133192" y="624415"/>
                  </a:cubicBezTo>
                  <a:lnTo>
                    <a:pt x="470634" y="98171"/>
                  </a:lnTo>
                  <a:cubicBezTo>
                    <a:pt x="534121" y="-789"/>
                    <a:pt x="667006" y="-29835"/>
                    <a:pt x="765965" y="33624"/>
                  </a:cubicBezTo>
                  <a:lnTo>
                    <a:pt x="1132059" y="268399"/>
                  </a:lnTo>
                  <a:cubicBezTo>
                    <a:pt x="1186904" y="303563"/>
                    <a:pt x="1254484" y="349108"/>
                    <a:pt x="1262533" y="409320"/>
                  </a:cubicBezTo>
                  <a:cubicBezTo>
                    <a:pt x="1269037" y="457777"/>
                    <a:pt x="1224923" y="519585"/>
                    <a:pt x="1196637" y="563707"/>
                  </a:cubicBezTo>
                  <a:lnTo>
                    <a:pt x="859148" y="1089954"/>
                  </a:lnTo>
                  <a:cubicBezTo>
                    <a:pt x="795707" y="1188913"/>
                    <a:pt x="707436" y="1216559"/>
                    <a:pt x="608477" y="1153100"/>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6" name="Google Shape;436;p23"/>
            <p:cNvSpPr/>
            <p:nvPr/>
          </p:nvSpPr>
          <p:spPr>
            <a:xfrm>
              <a:off x="9309639" y="763837"/>
              <a:ext cx="1259137" cy="1582400"/>
            </a:xfrm>
            <a:custGeom>
              <a:avLst/>
              <a:gdLst/>
              <a:ahLst/>
              <a:cxnLst/>
              <a:rect l="l" t="t" r="r" b="b"/>
              <a:pathLst>
                <a:path w="1259137" h="1582400" extrusionOk="0">
                  <a:moveTo>
                    <a:pt x="702242" y="30181"/>
                  </a:moveTo>
                  <a:lnTo>
                    <a:pt x="1155333" y="301459"/>
                  </a:lnTo>
                  <a:cubicBezTo>
                    <a:pt x="1256203" y="361844"/>
                    <a:pt x="1289356" y="493778"/>
                    <a:pt x="1228962" y="594643"/>
                  </a:cubicBezTo>
                  <a:lnTo>
                    <a:pt x="913576" y="1121399"/>
                  </a:lnTo>
                  <a:cubicBezTo>
                    <a:pt x="887062" y="1165703"/>
                    <a:pt x="853409" y="1192303"/>
                    <a:pt x="823258" y="1229876"/>
                  </a:cubicBezTo>
                  <a:cubicBezTo>
                    <a:pt x="810524" y="1245780"/>
                    <a:pt x="772050" y="1276300"/>
                    <a:pt x="737987" y="1326516"/>
                  </a:cubicBezTo>
                  <a:cubicBezTo>
                    <a:pt x="658765" y="1443279"/>
                    <a:pt x="536522" y="1603728"/>
                    <a:pt x="496957" y="1580053"/>
                  </a:cubicBezTo>
                  <a:cubicBezTo>
                    <a:pt x="418326" y="1459192"/>
                    <a:pt x="528745" y="1250764"/>
                    <a:pt x="524561" y="1137607"/>
                  </a:cubicBezTo>
                  <a:cubicBezTo>
                    <a:pt x="520878" y="1037489"/>
                    <a:pt x="242055" y="962305"/>
                    <a:pt x="167291" y="923718"/>
                  </a:cubicBezTo>
                  <a:cubicBezTo>
                    <a:pt x="119994" y="895394"/>
                    <a:pt x="17260" y="876608"/>
                    <a:pt x="2389" y="827401"/>
                  </a:cubicBezTo>
                  <a:cubicBezTo>
                    <a:pt x="-14392" y="771682"/>
                    <a:pt x="61601" y="684092"/>
                    <a:pt x="93708" y="630534"/>
                  </a:cubicBezTo>
                  <a:lnTo>
                    <a:pt x="409048" y="103773"/>
                  </a:lnTo>
                  <a:cubicBezTo>
                    <a:pt x="469443" y="2913"/>
                    <a:pt x="601373" y="-30208"/>
                    <a:pt x="702242" y="30181"/>
                  </a:cubicBezTo>
                  <a:close/>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7" name="Google Shape;437;p23"/>
            <p:cNvSpPr/>
            <p:nvPr/>
          </p:nvSpPr>
          <p:spPr>
            <a:xfrm>
              <a:off x="8695277" y="2467815"/>
              <a:ext cx="1026211" cy="518136"/>
            </a:xfrm>
            <a:custGeom>
              <a:avLst/>
              <a:gdLst/>
              <a:ahLst/>
              <a:cxnLst/>
              <a:rect l="l" t="t" r="r" b="b"/>
              <a:pathLst>
                <a:path w="1026211" h="518136" extrusionOk="0">
                  <a:moveTo>
                    <a:pt x="1015816" y="0"/>
                  </a:moveTo>
                  <a:cubicBezTo>
                    <a:pt x="1015816" y="0"/>
                    <a:pt x="1038009" y="568"/>
                    <a:pt x="1017544" y="40930"/>
                  </a:cubicBezTo>
                  <a:cubicBezTo>
                    <a:pt x="991394" y="80154"/>
                    <a:pt x="696928" y="409866"/>
                    <a:pt x="663365" y="459891"/>
                  </a:cubicBezTo>
                  <a:cubicBezTo>
                    <a:pt x="629848" y="509916"/>
                    <a:pt x="611384" y="523836"/>
                    <a:pt x="589464" y="516169"/>
                  </a:cubicBezTo>
                  <a:cubicBezTo>
                    <a:pt x="410738" y="453624"/>
                    <a:pt x="71931" y="226237"/>
                    <a:pt x="22133" y="168267"/>
                  </a:cubicBezTo>
                  <a:cubicBezTo>
                    <a:pt x="-2470" y="139589"/>
                    <a:pt x="-28893" y="48120"/>
                    <a:pt x="76706" y="27286"/>
                  </a:cubicBezTo>
                  <a:cubicBezTo>
                    <a:pt x="140875" y="23862"/>
                    <a:pt x="141512" y="47751"/>
                    <a:pt x="192674" y="133022"/>
                  </a:cubicBezTo>
                  <a:cubicBezTo>
                    <a:pt x="243836" y="218292"/>
                    <a:pt x="423472" y="162582"/>
                    <a:pt x="507605" y="139843"/>
                  </a:cubicBezTo>
                </a:path>
              </a:pathLst>
            </a:custGeom>
            <a:solidFill>
              <a:srgbClr val="FFFFFF">
                <a:alpha val="13410"/>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27526442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tags" Target="../tags/tag2.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theme" Target="../theme/theme2.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image" Target="../media/image12.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5" Type="http://schemas.openxmlformats.org/officeDocument/2006/relationships/theme" Target="../theme/theme4.xml"/><Relationship Id="rId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44402" y="1603187"/>
            <a:ext cx="10709544" cy="553998"/>
          </a:xfrm>
          <a:prstGeom prst="rect">
            <a:avLst/>
          </a:prstGeom>
          <a:noFill/>
        </p:spPr>
        <p:txBody>
          <a:bodyPr wrap="square" lIns="0" tIns="0" rIns="0" bIns="0">
            <a:spAutoFit/>
          </a:bodyPr>
          <a:lstStyle>
            <a:lvl1pPr>
              <a:defRPr sz="3600" b="1" i="0">
                <a:solidFill>
                  <a:schemeClr val="bg1"/>
                </a:solidFill>
                <a:latin typeface="Ubuntu"/>
                <a:cs typeface="Ubuntu"/>
              </a:defRPr>
            </a:lvl1pPr>
          </a:lstStyle>
          <a:p>
            <a:endParaRPr/>
          </a:p>
        </p:txBody>
      </p:sp>
      <p:sp>
        <p:nvSpPr>
          <p:cNvPr id="3" name="Holder 3"/>
          <p:cNvSpPr>
            <a:spLocks noGrp="1"/>
          </p:cNvSpPr>
          <p:nvPr>
            <p:ph type="body" idx="1"/>
          </p:nvPr>
        </p:nvSpPr>
        <p:spPr>
          <a:xfrm>
            <a:off x="744402" y="2357065"/>
            <a:ext cx="10709544" cy="276999"/>
          </a:xfrm>
          <a:prstGeom prst="rect">
            <a:avLst/>
          </a:prstGeom>
        </p:spPr>
        <p:txBody>
          <a:bodyPr wrap="square" lIns="0" tIns="0" rIns="0" bIns="0">
            <a:spAutoFit/>
          </a:bodyPr>
          <a:lstStyle>
            <a:lvl1pPr>
              <a:defRPr sz="1800" b="1" i="0">
                <a:solidFill>
                  <a:srgbClr val="14355B"/>
                </a:solidFill>
                <a:latin typeface="Ubuntu"/>
                <a:cs typeface="Ubuntu"/>
              </a:defRPr>
            </a:lvl1pPr>
          </a:lstStyle>
          <a:p>
            <a:endParaRPr/>
          </a:p>
        </p:txBody>
      </p:sp>
      <p:pic>
        <p:nvPicPr>
          <p:cNvPr id="9" name="Picture 8">
            <a:extLst>
              <a:ext uri="{FF2B5EF4-FFF2-40B4-BE49-F238E27FC236}">
                <a16:creationId xmlns:a16="http://schemas.microsoft.com/office/drawing/2014/main" id="{5BC17112-871E-BB43-BDA4-6EFEEC972925}"/>
              </a:ext>
              <a:ext uri="{C183D7F6-B498-43B3-948B-1728B52AA6E4}">
                <adec:decorative xmlns:adec="http://schemas.microsoft.com/office/drawing/2017/decorative" val="1"/>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109582" y="6172200"/>
            <a:ext cx="4316784" cy="719464"/>
          </a:xfrm>
          <a:prstGeom prst="rect">
            <a:avLst/>
          </a:prstGeom>
        </p:spPr>
      </p:pic>
      <p:sp>
        <p:nvSpPr>
          <p:cNvPr id="10" name="Holder 6">
            <a:extLst>
              <a:ext uri="{FF2B5EF4-FFF2-40B4-BE49-F238E27FC236}">
                <a16:creationId xmlns:a16="http://schemas.microsoft.com/office/drawing/2014/main" id="{721CF182-4789-A841-AE1F-3F7DDF0B272C}"/>
              </a:ext>
            </a:extLst>
          </p:cNvPr>
          <p:cNvSpPr txBox="1">
            <a:spLocks/>
          </p:cNvSpPr>
          <p:nvPr/>
        </p:nvSpPr>
        <p:spPr>
          <a:xfrm>
            <a:off x="9595597" y="6369278"/>
            <a:ext cx="1903095" cy="215444"/>
          </a:xfrm>
          <a:prstGeom prst="rect">
            <a:avLst/>
          </a:prstGeom>
        </p:spPr>
        <p:txBody>
          <a:bodyPr lIns="0" tIns="0" rIns="0" bIns="0"/>
          <a:lstStyle>
            <a:defPPr>
              <a:defRPr lang="en-US"/>
            </a:defPPr>
            <a:lvl1pPr marL="0" algn="l" defTabSz="914400" rtl="0" eaLnBrk="1" latinLnBrk="0" hangingPunct="1">
              <a:defRPr sz="1400" b="0" i="0" kern="1200">
                <a:solidFill>
                  <a:schemeClr val="tx2"/>
                </a:solidFill>
                <a:latin typeface="Ubuntu"/>
                <a:ea typeface="+mn-ea"/>
                <a:cs typeface="Ubuntu"/>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1">
              <a:spcBef>
                <a:spcPts val="5"/>
              </a:spcBef>
            </a:pPr>
            <a:r>
              <a:rPr lang="en-GB" sz="1400"/>
              <a:t>Company Update|</a:t>
            </a:r>
            <a:r>
              <a:rPr lang="en-GB" sz="1400" spc="229"/>
              <a:t> </a:t>
            </a:r>
            <a:fld id="{81D60167-4931-47E6-BA6A-407CBD079E47}" type="slidenum">
              <a:rPr sz="1400" smtClean="0"/>
              <a:pPr marL="12701">
                <a:spcBef>
                  <a:spcPts val="5"/>
                </a:spcBef>
              </a:pPr>
              <a:t>‹#›</a:t>
            </a:fld>
            <a:endParaRPr sz="1400"/>
          </a:p>
        </p:txBody>
      </p:sp>
      <p:grpSp>
        <p:nvGrpSpPr>
          <p:cNvPr id="7" name="Group 6">
            <a:extLst>
              <a:ext uri="{FF2B5EF4-FFF2-40B4-BE49-F238E27FC236}">
                <a16:creationId xmlns:a16="http://schemas.microsoft.com/office/drawing/2014/main" id="{6ECC63DD-66C3-4C4F-8B77-370D4284F9EF}"/>
              </a:ext>
            </a:extLst>
          </p:cNvPr>
          <p:cNvGrpSpPr/>
          <p:nvPr/>
        </p:nvGrpSpPr>
        <p:grpSpPr>
          <a:xfrm>
            <a:off x="11504795" y="0"/>
            <a:ext cx="685364" cy="596444"/>
            <a:chOff x="9842956" y="63480"/>
            <a:chExt cx="685364" cy="596444"/>
          </a:xfrm>
        </p:grpSpPr>
        <p:sp>
          <p:nvSpPr>
            <p:cNvPr id="8" name="Rectangle 7">
              <a:extLst>
                <a:ext uri="{FF2B5EF4-FFF2-40B4-BE49-F238E27FC236}">
                  <a16:creationId xmlns:a16="http://schemas.microsoft.com/office/drawing/2014/main" id="{8249E4B7-CA1A-B946-B080-79F7DEA167D0}"/>
                </a:ext>
              </a:extLst>
            </p:cNvPr>
            <p:cNvSpPr/>
            <p:nvPr userDrawn="1"/>
          </p:nvSpPr>
          <p:spPr>
            <a:xfrm>
              <a:off x="10058400" y="63480"/>
              <a:ext cx="381000" cy="381000"/>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52484EA4-A918-8A40-A69E-D97AC9A881F6}"/>
                </a:ext>
              </a:extLst>
            </p:cNvPr>
            <p:cNvSpPr/>
            <p:nvPr userDrawn="1"/>
          </p:nvSpPr>
          <p:spPr>
            <a:xfrm>
              <a:off x="9842956" y="444480"/>
              <a:ext cx="215444" cy="21544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0F95D730-178B-2743-8C9D-433CD8948600}"/>
                </a:ext>
              </a:extLst>
            </p:cNvPr>
            <p:cNvSpPr/>
            <p:nvPr userDrawn="1"/>
          </p:nvSpPr>
          <p:spPr>
            <a:xfrm>
              <a:off x="10439400" y="444480"/>
              <a:ext cx="88920" cy="8892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a:p>
          </p:txBody>
        </p:sp>
      </p:grpSp>
      <p:pic>
        <p:nvPicPr>
          <p:cNvPr id="14" name="Picture 13" descr="Logo&#10;&#10;Description automatically generated">
            <a:extLst>
              <a:ext uri="{FF2B5EF4-FFF2-40B4-BE49-F238E27FC236}">
                <a16:creationId xmlns:a16="http://schemas.microsoft.com/office/drawing/2014/main" id="{478C3B10-41C4-466C-9113-53C1563704E4}"/>
              </a:ext>
            </a:extLst>
          </p:cNvPr>
          <p:cNvPicPr>
            <a:picLocks noChangeAspect="1"/>
          </p:cNvPicPr>
          <p:nvPr userDrawn="1"/>
        </p:nvPicPr>
        <p:blipFill>
          <a:blip r:embed="rId56" cstate="print">
            <a:extLst>
              <a:ext uri="{28A0092B-C50C-407E-A947-70E740481C1C}">
                <a14:useLocalDpi xmlns:a14="http://schemas.microsoft.com/office/drawing/2010/main" val="0"/>
              </a:ext>
            </a:extLst>
          </a:blip>
          <a:stretch>
            <a:fillRect/>
          </a:stretch>
        </p:blipFill>
        <p:spPr>
          <a:xfrm>
            <a:off x="101600" y="6089574"/>
            <a:ext cx="1556347" cy="802091"/>
          </a:xfrm>
          <a:prstGeom prst="rect">
            <a:avLst/>
          </a:prstGeom>
        </p:spPr>
      </p:pic>
    </p:spTree>
    <p:extLst>
      <p:ext uri="{BB962C8B-B14F-4D97-AF65-F5344CB8AC3E}">
        <p14:creationId xmlns:p14="http://schemas.microsoft.com/office/powerpoint/2010/main" val="14998853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Lst>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23" eaLnBrk="1" hangingPunct="1">
        <a:defRPr>
          <a:latin typeface="+mn-lt"/>
          <a:ea typeface="+mn-ea"/>
          <a:cs typeface="+mn-cs"/>
        </a:defRPr>
      </a:lvl2pPr>
      <a:lvl3pPr marL="914446" eaLnBrk="1" hangingPunct="1">
        <a:defRPr>
          <a:latin typeface="+mn-lt"/>
          <a:ea typeface="+mn-ea"/>
          <a:cs typeface="+mn-cs"/>
        </a:defRPr>
      </a:lvl3pPr>
      <a:lvl4pPr marL="1371669" eaLnBrk="1" hangingPunct="1">
        <a:defRPr>
          <a:latin typeface="+mn-lt"/>
          <a:ea typeface="+mn-ea"/>
          <a:cs typeface="+mn-cs"/>
        </a:defRPr>
      </a:lvl4pPr>
      <a:lvl5pPr marL="1828891" eaLnBrk="1" hangingPunct="1">
        <a:defRPr>
          <a:latin typeface="+mn-lt"/>
          <a:ea typeface="+mn-ea"/>
          <a:cs typeface="+mn-cs"/>
        </a:defRPr>
      </a:lvl5pPr>
      <a:lvl6pPr marL="2286114" eaLnBrk="1" hangingPunct="1">
        <a:defRPr>
          <a:latin typeface="+mn-lt"/>
          <a:ea typeface="+mn-ea"/>
          <a:cs typeface="+mn-cs"/>
        </a:defRPr>
      </a:lvl6pPr>
      <a:lvl7pPr marL="2743337" eaLnBrk="1" hangingPunct="1">
        <a:defRPr>
          <a:latin typeface="+mn-lt"/>
          <a:ea typeface="+mn-ea"/>
          <a:cs typeface="+mn-cs"/>
        </a:defRPr>
      </a:lvl7pPr>
      <a:lvl8pPr marL="3200560" eaLnBrk="1" hangingPunct="1">
        <a:defRPr>
          <a:latin typeface="+mn-lt"/>
          <a:ea typeface="+mn-ea"/>
          <a:cs typeface="+mn-cs"/>
        </a:defRPr>
      </a:lvl8pPr>
      <a:lvl9pPr marL="3657783" eaLnBrk="1" hangingPunct="1">
        <a:defRPr>
          <a:latin typeface="+mn-lt"/>
          <a:ea typeface="+mn-ea"/>
          <a:cs typeface="+mn-cs"/>
        </a:defRPr>
      </a:lvl9pPr>
    </p:bodyStyle>
    <p:otherStyle>
      <a:lvl1pPr marL="0" eaLnBrk="1" hangingPunct="1">
        <a:defRPr>
          <a:latin typeface="+mn-lt"/>
          <a:ea typeface="+mn-ea"/>
          <a:cs typeface="+mn-cs"/>
        </a:defRPr>
      </a:lvl1pPr>
      <a:lvl2pPr marL="457223" eaLnBrk="1" hangingPunct="1">
        <a:defRPr>
          <a:latin typeface="+mn-lt"/>
          <a:ea typeface="+mn-ea"/>
          <a:cs typeface="+mn-cs"/>
        </a:defRPr>
      </a:lvl2pPr>
      <a:lvl3pPr marL="914446" eaLnBrk="1" hangingPunct="1">
        <a:defRPr>
          <a:latin typeface="+mn-lt"/>
          <a:ea typeface="+mn-ea"/>
          <a:cs typeface="+mn-cs"/>
        </a:defRPr>
      </a:lvl3pPr>
      <a:lvl4pPr marL="1371669" eaLnBrk="1" hangingPunct="1">
        <a:defRPr>
          <a:latin typeface="+mn-lt"/>
          <a:ea typeface="+mn-ea"/>
          <a:cs typeface="+mn-cs"/>
        </a:defRPr>
      </a:lvl4pPr>
      <a:lvl5pPr marL="1828891" eaLnBrk="1" hangingPunct="1">
        <a:defRPr>
          <a:latin typeface="+mn-lt"/>
          <a:ea typeface="+mn-ea"/>
          <a:cs typeface="+mn-cs"/>
        </a:defRPr>
      </a:lvl5pPr>
      <a:lvl6pPr marL="2286114" eaLnBrk="1" hangingPunct="1">
        <a:defRPr>
          <a:latin typeface="+mn-lt"/>
          <a:ea typeface="+mn-ea"/>
          <a:cs typeface="+mn-cs"/>
        </a:defRPr>
      </a:lvl6pPr>
      <a:lvl7pPr marL="2743337" eaLnBrk="1" hangingPunct="1">
        <a:defRPr>
          <a:latin typeface="+mn-lt"/>
          <a:ea typeface="+mn-ea"/>
          <a:cs typeface="+mn-cs"/>
        </a:defRPr>
      </a:lvl7pPr>
      <a:lvl8pPr marL="3200560" eaLnBrk="1" hangingPunct="1">
        <a:defRPr>
          <a:latin typeface="+mn-lt"/>
          <a:ea typeface="+mn-ea"/>
          <a:cs typeface="+mn-cs"/>
        </a:defRPr>
      </a:lvl8pPr>
      <a:lvl9pPr marL="3657783"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E68B11-1A4B-C334-9919-0AB4EA62B7F2}"/>
              </a:ext>
            </a:extLst>
          </p:cNvPr>
          <p:cNvGraphicFramePr>
            <a:graphicFrameLocks noChangeAspect="1"/>
          </p:cNvGraphicFramePr>
          <p:nvPr userDrawn="1">
            <p:custDataLst>
              <p:tags r:id="rId26"/>
            </p:custDataLst>
            <p:extLst>
              <p:ext uri="{D42A27DB-BD31-4B8C-83A1-F6EECF244321}">
                <p14:modId xmlns:p14="http://schemas.microsoft.com/office/powerpoint/2010/main" val="63415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6" name="Object 5" hidden="1">
                        <a:extLst>
                          <a:ext uri="{FF2B5EF4-FFF2-40B4-BE49-F238E27FC236}">
                            <a16:creationId xmlns:a16="http://schemas.microsoft.com/office/drawing/2014/main" id="{55E68B11-1A4B-C334-9919-0AB4EA62B7F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n-GB" noProof="0"/>
              <a:t>Click to modify the title style</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3659" y="3389715"/>
            <a:ext cx="10515600" cy="2180575"/>
          </a:xfrm>
          <a:prstGeom prst="rect">
            <a:avLst/>
          </a:prstGeom>
        </p:spPr>
        <p:txBody>
          <a:bodyPr vert="horz" lIns="91440" tIns="45720" rIns="91440" bIns="45720" numCol="1" rtlCol="0" anchor="t">
            <a:normAutofit/>
          </a:bodyPr>
          <a:lstStyle/>
          <a:p>
            <a:pPr lvl="0"/>
            <a:r>
              <a:rPr lang="en-GB" noProof="0"/>
              <a:t>Click to modify the title styl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Marcador de número de diapositiva 5">
            <a:extLst>
              <a:ext uri="{FF2B5EF4-FFF2-40B4-BE49-F238E27FC236}">
                <a16:creationId xmlns:a16="http://schemas.microsoft.com/office/drawing/2014/main" id="{698C4985-D042-A04D-9E87-4E855F336546}"/>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Tree>
    <p:extLst>
      <p:ext uri="{BB962C8B-B14F-4D97-AF65-F5344CB8AC3E}">
        <p14:creationId xmlns:p14="http://schemas.microsoft.com/office/powerpoint/2010/main" val="356346062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700" cy="763500"/>
          </a:xfrm>
          <a:prstGeom prst="rect">
            <a:avLst/>
          </a:prstGeom>
          <a:noFill/>
          <a:ln>
            <a:noFill/>
          </a:ln>
          <a:effectLst>
            <a:outerShdw blurRad="57150" dist="19050" dir="5400000" algn="bl" rotWithShape="0">
              <a:srgbClr val="000000">
                <a:alpha val="50000"/>
              </a:srgbClr>
            </a:outerShdw>
          </a:effectLst>
        </p:spPr>
        <p:txBody>
          <a:bodyPr spcFirstLastPara="1" wrap="square" lIns="121900" tIns="121900" rIns="121900" bIns="121900" anchor="t" anchorCtr="0">
            <a:noAutofit/>
          </a:bodyPr>
          <a:lstStyle>
            <a:lvl1pPr lvl="0">
              <a:spcBef>
                <a:spcPts val="0"/>
              </a:spcBef>
              <a:spcAft>
                <a:spcPts val="0"/>
              </a:spcAft>
              <a:buClr>
                <a:schemeClr val="lt1"/>
              </a:buClr>
              <a:buSzPts val="4000"/>
              <a:buFont typeface="Anton"/>
              <a:buNone/>
              <a:defRPr sz="4000">
                <a:solidFill>
                  <a:schemeClr val="lt1"/>
                </a:solidFill>
                <a:latin typeface="Anton"/>
                <a:ea typeface="Anton"/>
                <a:cs typeface="Anton"/>
                <a:sym typeface="Anton"/>
              </a:defRPr>
            </a:lvl1pPr>
            <a:lvl2pPr lvl="1">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2pPr>
            <a:lvl3pPr lvl="2">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3pPr>
            <a:lvl4pPr lvl="3">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4pPr>
            <a:lvl5pPr lvl="4">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5pPr>
            <a:lvl6pPr lvl="5">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6pPr>
            <a:lvl7pPr lvl="6">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7pPr>
            <a:lvl8pPr lvl="7">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8pPr>
            <a:lvl9pPr lvl="8">
              <a:spcBef>
                <a:spcPts val="0"/>
              </a:spcBef>
              <a:spcAft>
                <a:spcPts val="0"/>
              </a:spcAft>
              <a:buClr>
                <a:schemeClr val="lt1"/>
              </a:buClr>
              <a:buSzPts val="4000"/>
              <a:buFont typeface="Abril Fatface"/>
              <a:buNone/>
              <a:defRPr sz="4000">
                <a:solidFill>
                  <a:schemeClr val="lt1"/>
                </a:solidFill>
                <a:latin typeface="Abril Fatface"/>
                <a:ea typeface="Abril Fatface"/>
                <a:cs typeface="Abril Fatface"/>
                <a:sym typeface="Abril Fatface"/>
              </a:defRPr>
            </a:lvl9pPr>
          </a:lstStyle>
          <a:p>
            <a:endParaRPr/>
          </a:p>
        </p:txBody>
      </p:sp>
      <p:sp>
        <p:nvSpPr>
          <p:cNvPr id="7" name="Google Shape;7;p1"/>
          <p:cNvSpPr txBox="1">
            <a:spLocks noGrp="1"/>
          </p:cNvSpPr>
          <p:nvPr>
            <p:ph type="body" idx="1"/>
          </p:nvPr>
        </p:nvSpPr>
        <p:spPr>
          <a:xfrm>
            <a:off x="415600" y="1536633"/>
            <a:ext cx="11360700" cy="4555200"/>
          </a:xfrm>
          <a:prstGeom prst="rect">
            <a:avLst/>
          </a:prstGeom>
          <a:noFill/>
          <a:ln>
            <a:noFill/>
          </a:ln>
        </p:spPr>
        <p:txBody>
          <a:bodyPr spcFirstLastPara="1" wrap="square" lIns="121900" tIns="121900" rIns="121900" bIns="121900" anchor="t" anchorCtr="0">
            <a:noAutofit/>
          </a:bodyPr>
          <a:lstStyle>
            <a:lvl1pPr marL="457200" lvl="0" indent="-368300">
              <a:lnSpc>
                <a:spcPct val="115000"/>
              </a:lnSpc>
              <a:spcBef>
                <a:spcPts val="0"/>
              </a:spcBef>
              <a:spcAft>
                <a:spcPts val="0"/>
              </a:spcAft>
              <a:buClr>
                <a:schemeClr val="lt1"/>
              </a:buClr>
              <a:buSzPts val="2200"/>
              <a:buFont typeface="Archivo"/>
              <a:buChar char="●"/>
              <a:defRPr sz="2200">
                <a:solidFill>
                  <a:schemeClr val="lt1"/>
                </a:solidFill>
                <a:latin typeface="Archivo"/>
                <a:ea typeface="Archivo"/>
                <a:cs typeface="Archivo"/>
                <a:sym typeface="Archivo"/>
              </a:defRPr>
            </a:lvl1pPr>
            <a:lvl2pPr marL="914400" lvl="1"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2pPr>
            <a:lvl3pPr marL="1371600" lvl="2"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3pPr>
            <a:lvl4pPr marL="1828800" lvl="3"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4pPr>
            <a:lvl5pPr marL="2286000" lvl="4"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5pPr>
            <a:lvl6pPr marL="2743200" lvl="5"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6pPr>
            <a:lvl7pPr marL="3200400" lvl="6"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7pPr>
            <a:lvl8pPr marL="3657600" lvl="7" indent="-368300">
              <a:lnSpc>
                <a:spcPct val="115000"/>
              </a:lnSpc>
              <a:spcBef>
                <a:spcPts val="2100"/>
              </a:spcBef>
              <a:spcAft>
                <a:spcPts val="0"/>
              </a:spcAft>
              <a:buClr>
                <a:schemeClr val="lt1"/>
              </a:buClr>
              <a:buSzPts val="2200"/>
              <a:buFont typeface="Archivo"/>
              <a:buChar char="○"/>
              <a:defRPr sz="2200">
                <a:solidFill>
                  <a:schemeClr val="lt1"/>
                </a:solidFill>
                <a:latin typeface="Archivo"/>
                <a:ea typeface="Archivo"/>
                <a:cs typeface="Archivo"/>
                <a:sym typeface="Archivo"/>
              </a:defRPr>
            </a:lvl8pPr>
            <a:lvl9pPr marL="4114800" lvl="8" indent="-368300">
              <a:lnSpc>
                <a:spcPct val="115000"/>
              </a:lnSpc>
              <a:spcBef>
                <a:spcPts val="2100"/>
              </a:spcBef>
              <a:spcAft>
                <a:spcPts val="2100"/>
              </a:spcAft>
              <a:buClr>
                <a:schemeClr val="lt1"/>
              </a:buClr>
              <a:buSzPts val="2200"/>
              <a:buFont typeface="Archivo"/>
              <a:buChar char="■"/>
              <a:defRPr sz="2200">
                <a:solidFill>
                  <a:schemeClr val="lt1"/>
                </a:solidFill>
                <a:latin typeface="Archivo"/>
                <a:ea typeface="Archivo"/>
                <a:cs typeface="Archivo"/>
                <a:sym typeface="Archivo"/>
              </a:defRPr>
            </a:lvl9pPr>
          </a:lstStyle>
          <a:p>
            <a:endParaRPr/>
          </a:p>
        </p:txBody>
      </p:sp>
      <p:sp>
        <p:nvSpPr>
          <p:cNvPr id="8" name="Google Shape;8;p1"/>
          <p:cNvSpPr txBox="1">
            <a:spLocks noGrp="1"/>
          </p:cNvSpPr>
          <p:nvPr>
            <p:ph type="sldNum" idx="12"/>
          </p:nvPr>
        </p:nvSpPr>
        <p:spPr>
          <a:xfrm>
            <a:off x="11296610" y="6217622"/>
            <a:ext cx="731700" cy="524700"/>
          </a:xfrm>
          <a:prstGeom prst="rect">
            <a:avLst/>
          </a:prstGeom>
          <a:noFill/>
          <a:ln>
            <a:noFill/>
          </a:ln>
        </p:spPr>
        <p:txBody>
          <a:bodyPr spcFirstLastPara="1" wrap="square" lIns="121900" tIns="121900" rIns="121900" bIns="121900" anchor="ctr" anchorCtr="0">
            <a:noAutofit/>
          </a:bodyPr>
          <a:lstStyle>
            <a:lvl1pPr lvl="0" algn="r">
              <a:buNone/>
              <a:defRPr sz="1300">
                <a:solidFill>
                  <a:schemeClr val="dk2"/>
                </a:solidFill>
              </a:defRPr>
            </a:lvl1pPr>
            <a:lvl2pPr lvl="1" algn="r">
              <a:buNone/>
              <a:defRPr sz="1300">
                <a:solidFill>
                  <a:schemeClr val="dk2"/>
                </a:solidFill>
              </a:defRPr>
            </a:lvl2pPr>
            <a:lvl3pPr lvl="2" algn="r">
              <a:buNone/>
              <a:defRPr sz="1300">
                <a:solidFill>
                  <a:schemeClr val="dk2"/>
                </a:solidFill>
              </a:defRPr>
            </a:lvl3pPr>
            <a:lvl4pPr lvl="3" algn="r">
              <a:buNone/>
              <a:defRPr sz="1300">
                <a:solidFill>
                  <a:schemeClr val="dk2"/>
                </a:solidFill>
              </a:defRPr>
            </a:lvl4pPr>
            <a:lvl5pPr lvl="4" algn="r">
              <a:buNone/>
              <a:defRPr sz="1300">
                <a:solidFill>
                  <a:schemeClr val="dk2"/>
                </a:solidFill>
              </a:defRPr>
            </a:lvl5pPr>
            <a:lvl6pPr lvl="5" algn="r">
              <a:buNone/>
              <a:defRPr sz="1300">
                <a:solidFill>
                  <a:schemeClr val="dk2"/>
                </a:solidFill>
              </a:defRPr>
            </a:lvl6pPr>
            <a:lvl7pPr lvl="6" algn="r">
              <a:buNone/>
              <a:defRPr sz="1300">
                <a:solidFill>
                  <a:schemeClr val="dk2"/>
                </a:solidFill>
              </a:defRPr>
            </a:lvl7pPr>
            <a:lvl8pPr lvl="7" algn="r">
              <a:buNone/>
              <a:defRPr sz="1300">
                <a:solidFill>
                  <a:schemeClr val="dk2"/>
                </a:solidFill>
              </a:defRPr>
            </a:lvl8pPr>
            <a:lvl9pPr lvl="8" algn="r">
              <a:buNone/>
              <a:defRPr sz="13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
        <p:nvSpPr>
          <p:cNvPr id="9" name="Google Shape;9;p1"/>
          <p:cNvSpPr txBox="1"/>
          <p:nvPr/>
        </p:nvSpPr>
        <p:spPr>
          <a:xfrm rot="5400000">
            <a:off x="-679350" y="6198500"/>
            <a:ext cx="1579800" cy="373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rgbClr val="666666"/>
                </a:solidFill>
                <a:latin typeface="Barlow Condensed"/>
                <a:ea typeface="Barlow Condensed"/>
                <a:cs typeface="Barlow Condensed"/>
                <a:sym typeface="Barlow Condensed"/>
              </a:rPr>
              <a:t>SLIDESMANIA.COM</a:t>
            </a:r>
            <a:endParaRPr>
              <a:solidFill>
                <a:srgbClr val="666666"/>
              </a:solidFill>
              <a:latin typeface="Barlow Condensed"/>
              <a:ea typeface="Barlow Condensed"/>
              <a:cs typeface="Barlow Condensed"/>
              <a:sym typeface="Barlow Condensed"/>
            </a:endParaRPr>
          </a:p>
        </p:txBody>
      </p:sp>
    </p:spTree>
    <p:extLst>
      <p:ext uri="{BB962C8B-B14F-4D97-AF65-F5344CB8AC3E}">
        <p14:creationId xmlns:p14="http://schemas.microsoft.com/office/powerpoint/2010/main" val="3404306782"/>
      </p:ext>
    </p:extLst>
  </p:cSld>
  <p:clrMap bg1="lt1" tx1="dk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717814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3.xml"/><Relationship Id="rId6" Type="http://schemas.openxmlformats.org/officeDocument/2006/relationships/image" Target="../media/image26.emf"/><Relationship Id="rId5" Type="http://schemas.openxmlformats.org/officeDocument/2006/relationships/oleObject" Target="../embeddings/oleObject2.bin"/><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0.png"/><Relationship Id="rId2" Type="http://schemas.openxmlformats.org/officeDocument/2006/relationships/slideLayout" Target="../slideLayouts/slideLayout55.xml"/><Relationship Id="rId1" Type="http://schemas.openxmlformats.org/officeDocument/2006/relationships/tags" Target="../tags/tag11.xml"/><Relationship Id="rId6" Type="http://schemas.openxmlformats.org/officeDocument/2006/relationships/image" Target="../media/image26.emf"/><Relationship Id="rId5" Type="http://schemas.openxmlformats.org/officeDocument/2006/relationships/oleObject" Target="../embeddings/oleObject10.bin"/><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2.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6.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66.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5.xml"/><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xml"/><Relationship Id="rId7" Type="http://schemas.openxmlformats.org/officeDocument/2006/relationships/image" Target="../media/image27.png"/><Relationship Id="rId2" Type="http://schemas.openxmlformats.org/officeDocument/2006/relationships/slideLayout" Target="../slideLayouts/slideLayout55.xml"/><Relationship Id="rId1" Type="http://schemas.openxmlformats.org/officeDocument/2006/relationships/tags" Target="../tags/tag4.x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image" Target="../media/image25.png"/><Relationship Id="rId9"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12.xml"/><Relationship Id="rId6" Type="http://schemas.openxmlformats.org/officeDocument/2006/relationships/image" Target="../media/image26.emf"/><Relationship Id="rId5" Type="http://schemas.openxmlformats.org/officeDocument/2006/relationships/oleObject" Target="../embeddings/oleObject11.bin"/><Relationship Id="rId4" Type="http://schemas.openxmlformats.org/officeDocument/2006/relationships/image" Target="../media/image4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13.xml"/><Relationship Id="rId6" Type="http://schemas.openxmlformats.org/officeDocument/2006/relationships/image" Target="../media/image26.emf"/><Relationship Id="rId5" Type="http://schemas.openxmlformats.org/officeDocument/2006/relationships/oleObject" Target="../embeddings/oleObject12.bin"/><Relationship Id="rId4" Type="http://schemas.openxmlformats.org/officeDocument/2006/relationships/image" Target="../media/image48.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14.xml"/><Relationship Id="rId6" Type="http://schemas.openxmlformats.org/officeDocument/2006/relationships/image" Target="../media/image26.emf"/><Relationship Id="rId5" Type="http://schemas.openxmlformats.org/officeDocument/2006/relationships/oleObject" Target="../embeddings/oleObject13.bin"/><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15.xml"/><Relationship Id="rId6" Type="http://schemas.openxmlformats.org/officeDocument/2006/relationships/image" Target="../media/image26.emf"/><Relationship Id="rId5" Type="http://schemas.openxmlformats.org/officeDocument/2006/relationships/oleObject" Target="../embeddings/oleObject14.bin"/><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66.xml"/><Relationship Id="rId5" Type="http://schemas.openxmlformats.org/officeDocument/2006/relationships/image" Target="../media/image23.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25.png"/><Relationship Id="rId7"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66.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23.png"/><Relationship Id="rId9"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66.xml"/><Relationship Id="rId5" Type="http://schemas.openxmlformats.org/officeDocument/2006/relationships/image" Target="../media/image23.png"/><Relationship Id="rId4" Type="http://schemas.openxmlformats.org/officeDocument/2006/relationships/image" Target="../media/image58.jpe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xml"/><Relationship Id="rId7" Type="http://schemas.openxmlformats.org/officeDocument/2006/relationships/image" Target="../media/image28.jpeg"/><Relationship Id="rId2" Type="http://schemas.openxmlformats.org/officeDocument/2006/relationships/slideLayout" Target="../slideLayouts/slideLayout55.xml"/><Relationship Id="rId1" Type="http://schemas.openxmlformats.org/officeDocument/2006/relationships/tags" Target="../tags/tag5.xml"/><Relationship Id="rId6" Type="http://schemas.openxmlformats.org/officeDocument/2006/relationships/image" Target="../media/image26.emf"/><Relationship Id="rId5" Type="http://schemas.openxmlformats.org/officeDocument/2006/relationships/oleObject" Target="../embeddings/oleObject4.bin"/><Relationship Id="rId4" Type="http://schemas.openxmlformats.org/officeDocument/2006/relationships/image" Target="../media/image25.png"/></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87.xml"/></Relationships>
</file>

<file path=ppt/slides/_rels/slide3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2.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3.xml"/><Relationship Id="rId1" Type="http://schemas.openxmlformats.org/officeDocument/2006/relationships/slideLayout" Target="../slideLayouts/slideLayout66.xm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4.xml"/><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3.png"/><Relationship Id="rId3" Type="http://schemas.openxmlformats.org/officeDocument/2006/relationships/notesSlide" Target="../notesSlides/notesSlide4.xml"/><Relationship Id="rId7" Type="http://schemas.openxmlformats.org/officeDocument/2006/relationships/image" Target="../media/image29.png"/><Relationship Id="rId12"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6.xml"/><Relationship Id="rId6" Type="http://schemas.openxmlformats.org/officeDocument/2006/relationships/image" Target="../media/image26.emf"/><Relationship Id="rId11" Type="http://schemas.microsoft.com/office/2007/relationships/hdphoto" Target="../media/hdphoto3.wdp"/><Relationship Id="rId5" Type="http://schemas.openxmlformats.org/officeDocument/2006/relationships/oleObject" Target="../embeddings/oleObject5.bin"/><Relationship Id="rId10" Type="http://schemas.openxmlformats.org/officeDocument/2006/relationships/image" Target="../media/image32.png"/><Relationship Id="rId4" Type="http://schemas.openxmlformats.org/officeDocument/2006/relationships/image" Target="../media/image25.png"/><Relationship Id="rId9" Type="http://schemas.openxmlformats.org/officeDocument/2006/relationships/image" Target="../media/image31.jpe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5.xml"/><Relationship Id="rId7" Type="http://schemas.openxmlformats.org/officeDocument/2006/relationships/image" Target="../media/image35.jpeg"/><Relationship Id="rId2" Type="http://schemas.openxmlformats.org/officeDocument/2006/relationships/slideLayout" Target="../slideLayouts/slideLayout55.xml"/><Relationship Id="rId1" Type="http://schemas.openxmlformats.org/officeDocument/2006/relationships/tags" Target="../tags/tag7.xml"/><Relationship Id="rId6" Type="http://schemas.openxmlformats.org/officeDocument/2006/relationships/image" Target="../media/image26.emf"/><Relationship Id="rId5" Type="http://schemas.openxmlformats.org/officeDocument/2006/relationships/oleObject" Target="../embeddings/oleObject6.bin"/><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8.xml"/><Relationship Id="rId6" Type="http://schemas.openxmlformats.org/officeDocument/2006/relationships/image" Target="../media/image26.emf"/><Relationship Id="rId5" Type="http://schemas.openxmlformats.org/officeDocument/2006/relationships/oleObject" Target="../embeddings/oleObject7.bin"/><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8.xml"/><Relationship Id="rId7" Type="http://schemas.openxmlformats.org/officeDocument/2006/relationships/image" Target="../media/image37.png"/><Relationship Id="rId2" Type="http://schemas.openxmlformats.org/officeDocument/2006/relationships/slideLayout" Target="../slideLayouts/slideLayout55.xml"/><Relationship Id="rId1" Type="http://schemas.openxmlformats.org/officeDocument/2006/relationships/tags" Target="../tags/tag9.xml"/><Relationship Id="rId6" Type="http://schemas.openxmlformats.org/officeDocument/2006/relationships/image" Target="../media/image36.png"/><Relationship Id="rId5" Type="http://schemas.openxmlformats.org/officeDocument/2006/relationships/image" Target="../media/image26.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3.png"/><Relationship Id="rId2" Type="http://schemas.openxmlformats.org/officeDocument/2006/relationships/slideLayout" Target="../slideLayouts/slideLayout55.xml"/><Relationship Id="rId1" Type="http://schemas.openxmlformats.org/officeDocument/2006/relationships/tags" Target="../tags/tag10.xml"/><Relationship Id="rId6" Type="http://schemas.openxmlformats.org/officeDocument/2006/relationships/image" Target="../media/image26.emf"/><Relationship Id="rId5" Type="http://schemas.openxmlformats.org/officeDocument/2006/relationships/oleObject" Target="../embeddings/oleObject9.bin"/><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3000" r="-3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white text&#10;&#10;Description automatically generated">
            <a:extLst>
              <a:ext uri="{FF2B5EF4-FFF2-40B4-BE49-F238E27FC236}">
                <a16:creationId xmlns:a16="http://schemas.microsoft.com/office/drawing/2014/main" id="{761F68DE-A2DF-142A-A0CF-F8586CF3EF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
        <p:nvSpPr>
          <p:cNvPr id="9" name="TextBox 8">
            <a:extLst>
              <a:ext uri="{FF2B5EF4-FFF2-40B4-BE49-F238E27FC236}">
                <a16:creationId xmlns:a16="http://schemas.microsoft.com/office/drawing/2014/main" id="{8A917096-361D-35D4-1D66-41A895E67D9D}"/>
              </a:ext>
            </a:extLst>
          </p:cNvPr>
          <p:cNvSpPr txBox="1"/>
          <p:nvPr/>
        </p:nvSpPr>
        <p:spPr>
          <a:xfrm>
            <a:off x="5177128" y="1213812"/>
            <a:ext cx="6093994" cy="3477875"/>
          </a:xfrm>
          <a:prstGeom prst="rect">
            <a:avLst/>
          </a:prstGeom>
          <a:noFill/>
        </p:spPr>
        <p:txBody>
          <a:bodyPr wrap="squar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srgbClr val="FEFFFF"/>
                </a:solidFill>
                <a:effectLst/>
                <a:uLnTx/>
                <a:uFillTx/>
                <a:latin typeface="Trade Gothic Next HvyCd" panose="020B0604020202020204" pitchFamily="34" charset="0"/>
                <a:ea typeface="+mj-ea"/>
              </a:rPr>
              <a:t>Celebrating Diversity and Inclusion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srgbClr val="FEFFFF"/>
                </a:solidFill>
                <a:effectLst/>
                <a:uLnTx/>
                <a:uFillTx/>
                <a:latin typeface="Trade Gothic Next HvyCd" panose="020B0604020202020204" pitchFamily="34" charset="0"/>
                <a:ea typeface="+mj-ea"/>
              </a:rPr>
              <a:t>-  </a:t>
            </a:r>
          </a:p>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srgbClr val="FEFFFF"/>
                </a:solidFill>
                <a:effectLst/>
                <a:uLnTx/>
                <a:uFillTx/>
                <a:latin typeface="Trade Gothic Next HvyCd" panose="020B0604020202020204" pitchFamily="34" charset="0"/>
                <a:ea typeface="+mj-ea"/>
              </a:rPr>
              <a:t>Black History, Workplace Challenges and Change</a:t>
            </a:r>
          </a:p>
        </p:txBody>
      </p:sp>
      <p:sp>
        <p:nvSpPr>
          <p:cNvPr id="10" name="TextBox 9">
            <a:extLst>
              <a:ext uri="{FF2B5EF4-FFF2-40B4-BE49-F238E27FC236}">
                <a16:creationId xmlns:a16="http://schemas.microsoft.com/office/drawing/2014/main" id="{E17BF678-84DE-274C-D38F-FE54B875EF77}"/>
              </a:ext>
            </a:extLst>
          </p:cNvPr>
          <p:cNvSpPr txBox="1"/>
          <p:nvPr/>
        </p:nvSpPr>
        <p:spPr>
          <a:xfrm>
            <a:off x="4608435" y="5413355"/>
            <a:ext cx="7231379" cy="461665"/>
          </a:xfrm>
          <a:prstGeom prst="rect">
            <a:avLst/>
          </a:prstGeom>
          <a:noFill/>
        </p:spPr>
        <p:txBody>
          <a:bodyPr wrap="square" rtlCol="0">
            <a:spAutoFit/>
          </a:bodyPr>
          <a:lstStyle/>
          <a:p>
            <a:pPr algn="ctr"/>
            <a:r>
              <a:rPr lang="en-GB" sz="2400" dirty="0">
                <a:solidFill>
                  <a:schemeClr val="bg1"/>
                </a:solidFill>
                <a:latin typeface="Trade Gothic Next Heavy" panose="020B0903040303020004" pitchFamily="34" charset="0"/>
              </a:rPr>
              <a:t>Bim Adeniran</a:t>
            </a:r>
          </a:p>
        </p:txBody>
      </p:sp>
    </p:spTree>
    <p:extLst>
      <p:ext uri="{BB962C8B-B14F-4D97-AF65-F5344CB8AC3E}">
        <p14:creationId xmlns:p14="http://schemas.microsoft.com/office/powerpoint/2010/main" val="1000786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3000" b="-3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blue and green logo&#10;&#10;Description automatically generated">
            <a:extLst>
              <a:ext uri="{FF2B5EF4-FFF2-40B4-BE49-F238E27FC236}">
                <a16:creationId xmlns:a16="http://schemas.microsoft.com/office/drawing/2014/main" id="{23B8EC57-3A52-3733-85AA-34F02A72E4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47882" y="5907600"/>
            <a:ext cx="1844118" cy="950400"/>
          </a:xfrm>
          <a:prstGeom prst="rect">
            <a:avLst/>
          </a:prstGeom>
        </p:spPr>
      </p:pic>
    </p:spTree>
    <p:extLst>
      <p:ext uri="{BB962C8B-B14F-4D97-AF65-F5344CB8AC3E}">
        <p14:creationId xmlns:p14="http://schemas.microsoft.com/office/powerpoint/2010/main" val="1012418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pic>
        <p:nvPicPr>
          <p:cNvPr id="2" name="Picture 1" descr="A black background with white text&#10;&#10;Description automatically generated">
            <a:extLst>
              <a:ext uri="{FF2B5EF4-FFF2-40B4-BE49-F238E27FC236}">
                <a16:creationId xmlns:a16="http://schemas.microsoft.com/office/drawing/2014/main" id="{1C6C52A9-5341-AD94-D297-AB69DF2761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30089"/>
            <a:ext cx="1841756" cy="949182"/>
          </a:xfrm>
          <a:prstGeom prst="rect">
            <a:avLst/>
          </a:prstGeom>
        </p:spPr>
      </p:pic>
    </p:spTree>
    <p:extLst>
      <p:ext uri="{BB962C8B-B14F-4D97-AF65-F5344CB8AC3E}">
        <p14:creationId xmlns:p14="http://schemas.microsoft.com/office/powerpoint/2010/main" val="1811188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pic>
        <p:nvPicPr>
          <p:cNvPr id="2" name="Picture 1" descr="A black background with white text&#10;&#10;Description automatically generated">
            <a:extLst>
              <a:ext uri="{FF2B5EF4-FFF2-40B4-BE49-F238E27FC236}">
                <a16:creationId xmlns:a16="http://schemas.microsoft.com/office/drawing/2014/main" id="{828C3C0D-9379-3FA8-470E-A358138A91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204998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1000" b="-11000"/>
          </a:stretch>
        </a:blipFill>
        <a:effectLst/>
      </p:bgPr>
    </p:bg>
    <p:spTree>
      <p:nvGrpSpPr>
        <p:cNvPr id="1" name=""/>
        <p:cNvGrpSpPr/>
        <p:nvPr/>
      </p:nvGrpSpPr>
      <p:grpSpPr>
        <a:xfrm>
          <a:off x="0" y="0"/>
          <a:ext cx="0" cy="0"/>
          <a:chOff x="0" y="0"/>
          <a:chExt cx="0" cy="0"/>
        </a:xfrm>
      </p:grpSpPr>
      <p:pic>
        <p:nvPicPr>
          <p:cNvPr id="5" name="Picture 4" descr="A blue and green logo&#10;&#10;Description automatically generated">
            <a:extLst>
              <a:ext uri="{FF2B5EF4-FFF2-40B4-BE49-F238E27FC236}">
                <a16:creationId xmlns:a16="http://schemas.microsoft.com/office/drawing/2014/main" id="{E57FD64D-11A1-53EA-DD24-92448C116E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47882" y="5907600"/>
            <a:ext cx="1844118" cy="950400"/>
          </a:xfrm>
          <a:prstGeom prst="rect">
            <a:avLst/>
          </a:prstGeom>
        </p:spPr>
      </p:pic>
    </p:spTree>
    <p:extLst>
      <p:ext uri="{BB962C8B-B14F-4D97-AF65-F5344CB8AC3E}">
        <p14:creationId xmlns:p14="http://schemas.microsoft.com/office/powerpoint/2010/main" val="12030723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1000" b="-11000"/>
          </a:stretch>
        </a:blipFill>
        <a:effectLst/>
      </p:bgPr>
    </p:bg>
    <p:spTree>
      <p:nvGrpSpPr>
        <p:cNvPr id="1" name=""/>
        <p:cNvGrpSpPr/>
        <p:nvPr/>
      </p:nvGrpSpPr>
      <p:grpSpPr>
        <a:xfrm>
          <a:off x="0" y="0"/>
          <a:ext cx="0" cy="0"/>
          <a:chOff x="0" y="0"/>
          <a:chExt cx="0" cy="0"/>
        </a:xfrm>
      </p:grpSpPr>
      <p:pic>
        <p:nvPicPr>
          <p:cNvPr id="5" name="Picture 4" descr="A blue and green logo&#10;&#10;Description automatically generated">
            <a:extLst>
              <a:ext uri="{FF2B5EF4-FFF2-40B4-BE49-F238E27FC236}">
                <a16:creationId xmlns:a16="http://schemas.microsoft.com/office/drawing/2014/main" id="{7F968B7A-E8D8-901B-1712-7DDA76E0D4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47882" y="5907600"/>
            <a:ext cx="1844118" cy="950400"/>
          </a:xfrm>
          <a:prstGeom prst="rect">
            <a:avLst/>
          </a:prstGeom>
        </p:spPr>
      </p:pic>
    </p:spTree>
    <p:extLst>
      <p:ext uri="{BB962C8B-B14F-4D97-AF65-F5344CB8AC3E}">
        <p14:creationId xmlns:p14="http://schemas.microsoft.com/office/powerpoint/2010/main" val="1280053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tar Wars – reimagining the sequels | Random ramblings on music and movies">
            <a:extLst>
              <a:ext uri="{FF2B5EF4-FFF2-40B4-BE49-F238E27FC236}">
                <a16:creationId xmlns:a16="http://schemas.microsoft.com/office/drawing/2014/main" id="{86413207-6FBE-D03E-9694-87A04DA548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264E9C98-C25A-E61D-2E32-6CA49B8AB344}"/>
              </a:ext>
            </a:extLst>
          </p:cNvPr>
          <p:cNvSpPr>
            <a:spLocks noGrp="1"/>
          </p:cNvSpPr>
          <p:nvPr>
            <p:ph type="sldNum" sz="quarter" idx="10"/>
          </p:nvPr>
        </p:nvSpPr>
        <p:spPr/>
        <p:txBody>
          <a:bodyPr/>
          <a:lstStyle/>
          <a:p>
            <a:fld id="{E7EBEDA2-51E6-554C-A63C-E820F6D0080D}" type="slidenum">
              <a:rPr lang="es-ES" smtClean="0"/>
              <a:pPr/>
              <a:t>15</a:t>
            </a:fld>
            <a:endParaRPr lang="es-ES"/>
          </a:p>
        </p:txBody>
      </p:sp>
    </p:spTree>
    <p:extLst>
      <p:ext uri="{BB962C8B-B14F-4D97-AF65-F5344CB8AC3E}">
        <p14:creationId xmlns:p14="http://schemas.microsoft.com/office/powerpoint/2010/main" val="13726579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F4E090-22AB-2CD3-E130-FE340681B526}"/>
              </a:ext>
            </a:extLst>
          </p:cNvPr>
          <p:cNvSpPr>
            <a:spLocks noGrp="1"/>
          </p:cNvSpPr>
          <p:nvPr>
            <p:ph type="sldNum" sz="quarter" idx="10"/>
          </p:nvPr>
        </p:nvSpPr>
        <p:spPr/>
        <p:txBody>
          <a:bodyPr/>
          <a:lstStyle/>
          <a:p>
            <a:fld id="{E7EBEDA2-51E6-554C-A63C-E820F6D0080D}" type="slidenum">
              <a:rPr lang="es-ES" smtClean="0"/>
              <a:pPr/>
              <a:t>16</a:t>
            </a:fld>
            <a:endParaRPr lang="es-ES"/>
          </a:p>
        </p:txBody>
      </p:sp>
      <p:pic>
        <p:nvPicPr>
          <p:cNvPr id="2052" name="Picture 4" descr="Star Wars Actor Claims JJ Abrams 'Forced' Finn's Jedi Twist">
            <a:extLst>
              <a:ext uri="{FF2B5EF4-FFF2-40B4-BE49-F238E27FC236}">
                <a16:creationId xmlns:a16="http://schemas.microsoft.com/office/drawing/2014/main" id="{F282BBE6-0DC8-44BF-7ACD-D9DA9707B3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084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8D986B3D-B1F8-EBBF-1C6B-C2C206B6E274}"/>
              </a:ext>
            </a:extLst>
          </p:cNvPr>
          <p:cNvSpPr>
            <a:spLocks noGrp="1"/>
          </p:cNvSpPr>
          <p:nvPr>
            <p:ph type="sldNum" sz="quarter" idx="10"/>
          </p:nvPr>
        </p:nvSpPr>
        <p:spPr>
          <a:xfrm>
            <a:off x="9077341" y="63572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EBEDA2-51E6-554C-A63C-E820F6D0080D}" type="slidenum">
              <a:rPr kumimoji="0" lang="es-ES" sz="1000" b="0" i="0" u="none" strike="noStrike" kern="1200" cap="none" spc="0" normalizeH="0" baseline="0" noProof="0" smtClean="0">
                <a:ln>
                  <a:noFill/>
                </a:ln>
                <a:solidFill>
                  <a:srgbClr val="586179">
                    <a:lumMod val="60000"/>
                    <a:lumOff val="40000"/>
                  </a:srgbClr>
                </a:solidFill>
                <a:effectLst/>
                <a:uLnTx/>
                <a:uFillTx/>
                <a:latin typeface="Telefonic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ES" sz="1000" b="0" i="0" u="none" strike="noStrike" kern="1200" cap="none" spc="0" normalizeH="0" baseline="0" noProof="0">
              <a:ln>
                <a:noFill/>
              </a:ln>
              <a:solidFill>
                <a:srgbClr val="586179">
                  <a:lumMod val="60000"/>
                  <a:lumOff val="40000"/>
                </a:srgbClr>
              </a:solidFill>
              <a:effectLst/>
              <a:uLnTx/>
              <a:uFillTx/>
              <a:latin typeface="Telefonica Sans"/>
              <a:ea typeface="+mn-ea"/>
              <a:cs typeface="+mn-cs"/>
            </a:endParaRPr>
          </a:p>
        </p:txBody>
      </p:sp>
      <p:pic>
        <p:nvPicPr>
          <p:cNvPr id="2" name="Picture 1" descr="A black background with white text&#10;&#10;Description automatically generated">
            <a:extLst>
              <a:ext uri="{FF2B5EF4-FFF2-40B4-BE49-F238E27FC236}">
                <a16:creationId xmlns:a16="http://schemas.microsoft.com/office/drawing/2014/main" id="{60F69AB0-D296-BD61-EB5F-498983E4B7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42262200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8D986B3D-B1F8-EBBF-1C6B-C2C206B6E274}"/>
              </a:ext>
            </a:extLst>
          </p:cNvPr>
          <p:cNvSpPr>
            <a:spLocks noGrp="1"/>
          </p:cNvSpPr>
          <p:nvPr>
            <p:ph type="sldNum" sz="quarter" idx="10"/>
          </p:nvPr>
        </p:nvSpPr>
        <p:spPr>
          <a:xfrm>
            <a:off x="9077341" y="635720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EBEDA2-51E6-554C-A63C-E820F6D0080D}" type="slidenum">
              <a:rPr kumimoji="0" lang="es-ES" sz="1000" b="0" i="0" u="none" strike="noStrike" kern="1200" cap="none" spc="0" normalizeH="0" baseline="0" noProof="0" smtClean="0">
                <a:ln>
                  <a:noFill/>
                </a:ln>
                <a:solidFill>
                  <a:srgbClr val="586179">
                    <a:lumMod val="60000"/>
                    <a:lumOff val="40000"/>
                  </a:srgbClr>
                </a:solidFill>
                <a:effectLst/>
                <a:uLnTx/>
                <a:uFillTx/>
                <a:latin typeface="Telefonic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ES" sz="1000" b="0" i="0" u="none" strike="noStrike" kern="1200" cap="none" spc="0" normalizeH="0" baseline="0" noProof="0">
              <a:ln>
                <a:noFill/>
              </a:ln>
              <a:solidFill>
                <a:srgbClr val="586179">
                  <a:lumMod val="60000"/>
                  <a:lumOff val="40000"/>
                </a:srgbClr>
              </a:solidFill>
              <a:effectLst/>
              <a:uLnTx/>
              <a:uFillTx/>
              <a:latin typeface="Telefonica Sans"/>
              <a:ea typeface="+mn-ea"/>
              <a:cs typeface="+mn-cs"/>
            </a:endParaRPr>
          </a:p>
        </p:txBody>
      </p:sp>
      <p:pic>
        <p:nvPicPr>
          <p:cNvPr id="2" name="Picture 1" descr="A black background with white text&#10;&#10;Description automatically generated">
            <a:extLst>
              <a:ext uri="{FF2B5EF4-FFF2-40B4-BE49-F238E27FC236}">
                <a16:creationId xmlns:a16="http://schemas.microsoft.com/office/drawing/2014/main" id="{CA352E24-8908-9669-78BC-05AF906F13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1592675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descr="A black background with white text&#10;&#10;Description automatically generated">
            <a:extLst>
              <a:ext uri="{FF2B5EF4-FFF2-40B4-BE49-F238E27FC236}">
                <a16:creationId xmlns:a16="http://schemas.microsoft.com/office/drawing/2014/main" id="{C1EF8547-90F3-F5FC-26A3-5080264D0B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549874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3000" r="-3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4C504E61-846C-D793-95A5-3BC6E6E64239}"/>
              </a:ext>
            </a:extLst>
          </p:cNvPr>
          <p:cNvSpPr txBox="1"/>
          <p:nvPr/>
        </p:nvSpPr>
        <p:spPr>
          <a:xfrm>
            <a:off x="6338098" y="302728"/>
            <a:ext cx="2302319" cy="830997"/>
          </a:xfrm>
          <a:prstGeom prst="rect">
            <a:avLst/>
          </a:prstGeom>
          <a:noFill/>
        </p:spPr>
        <p:txBody>
          <a:bodyPr wrap="square" rtlCol="0">
            <a:spAutoFit/>
          </a:bodyPr>
          <a:lstStyle/>
          <a:p>
            <a:pPr algn="ctr"/>
            <a:r>
              <a:rPr lang="en-US" sz="4800" dirty="0">
                <a:solidFill>
                  <a:schemeClr val="bg1"/>
                </a:solidFill>
                <a:latin typeface="Trade Gothic Next Heavy" panose="020B0903040303020004" pitchFamily="34" charset="0"/>
              </a:rPr>
              <a:t>Agenda</a:t>
            </a:r>
            <a:endParaRPr lang="en-GB" sz="4000" dirty="0">
              <a:solidFill>
                <a:schemeClr val="bg1"/>
              </a:solidFill>
              <a:latin typeface="Trade Gothic Next Heavy" panose="020B0903040303020004" pitchFamily="34" charset="0"/>
            </a:endParaRPr>
          </a:p>
        </p:txBody>
      </p:sp>
      <p:grpSp>
        <p:nvGrpSpPr>
          <p:cNvPr id="5" name="Group 4">
            <a:extLst>
              <a:ext uri="{FF2B5EF4-FFF2-40B4-BE49-F238E27FC236}">
                <a16:creationId xmlns:a16="http://schemas.microsoft.com/office/drawing/2014/main" id="{89A99439-17FE-736F-87B8-FD26AFE56442}"/>
              </a:ext>
            </a:extLst>
          </p:cNvPr>
          <p:cNvGrpSpPr/>
          <p:nvPr/>
        </p:nvGrpSpPr>
        <p:grpSpPr>
          <a:xfrm>
            <a:off x="6338099" y="1449494"/>
            <a:ext cx="3747561" cy="766128"/>
            <a:chOff x="6338099" y="1449494"/>
            <a:chExt cx="3747561" cy="766128"/>
          </a:xfrm>
        </p:grpSpPr>
        <p:pic>
          <p:nvPicPr>
            <p:cNvPr id="1026" name="Picture 2" descr="Stock Photo and Image Portfolio by Lyonstock | Shutterstock">
              <a:extLst>
                <a:ext uri="{FF2B5EF4-FFF2-40B4-BE49-F238E27FC236}">
                  <a16:creationId xmlns:a16="http://schemas.microsoft.com/office/drawing/2014/main" id="{CB70D4E4-2BB3-46E1-98AE-2AB38E280736}"/>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58305" t="15714" r="17660" b="6025"/>
            <a:stretch/>
          </p:blipFill>
          <p:spPr bwMode="auto">
            <a:xfrm>
              <a:off x="6338099" y="1449494"/>
              <a:ext cx="437355" cy="56002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1F5B4FF-D5F5-1EE3-ED16-F3885E6877CF}"/>
                </a:ext>
              </a:extLst>
            </p:cNvPr>
            <p:cNvSpPr txBox="1"/>
            <p:nvPr/>
          </p:nvSpPr>
          <p:spPr>
            <a:xfrm>
              <a:off x="6865136" y="1561049"/>
              <a:ext cx="3220524" cy="654573"/>
            </a:xfrm>
            <a:prstGeom prst="rect">
              <a:avLst/>
            </a:prstGeom>
            <a:noFill/>
          </p:spPr>
          <p:txBody>
            <a:bodyPr wrap="square" rtlCol="0">
              <a:spAutoFit/>
            </a:bodyPr>
            <a:lstStyle/>
            <a:p>
              <a:r>
                <a:rPr lang="en-US" sz="1800" dirty="0">
                  <a:solidFill>
                    <a:schemeClr val="bg1"/>
                  </a:solidFill>
                  <a:latin typeface="Trade Gothic Next Heavy" panose="020B0903040303020004" pitchFamily="34" charset="0"/>
                </a:rPr>
                <a:t>A bit about me</a:t>
              </a:r>
            </a:p>
            <a:p>
              <a:endParaRPr lang="en-GB" dirty="0"/>
            </a:p>
          </p:txBody>
        </p:sp>
      </p:grpSp>
      <p:grpSp>
        <p:nvGrpSpPr>
          <p:cNvPr id="6" name="Group 5">
            <a:extLst>
              <a:ext uri="{FF2B5EF4-FFF2-40B4-BE49-F238E27FC236}">
                <a16:creationId xmlns:a16="http://schemas.microsoft.com/office/drawing/2014/main" id="{56E2A186-F867-81DF-6F3A-5F7E9CD3037B}"/>
              </a:ext>
            </a:extLst>
          </p:cNvPr>
          <p:cNvGrpSpPr/>
          <p:nvPr/>
        </p:nvGrpSpPr>
        <p:grpSpPr>
          <a:xfrm>
            <a:off x="6338100" y="2325290"/>
            <a:ext cx="3747561" cy="770338"/>
            <a:chOff x="6338100" y="2325290"/>
            <a:chExt cx="3747561" cy="770338"/>
          </a:xfrm>
        </p:grpSpPr>
        <p:pic>
          <p:nvPicPr>
            <p:cNvPr id="9" name="Picture 2" descr="Stock Photo and Image Portfolio by Lyonstock | Shutterstock">
              <a:extLst>
                <a:ext uri="{FF2B5EF4-FFF2-40B4-BE49-F238E27FC236}">
                  <a16:creationId xmlns:a16="http://schemas.microsoft.com/office/drawing/2014/main" id="{A3545B05-F57E-6ABA-D0A8-5E4949637EF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58305" t="15714" r="17660" b="6025"/>
            <a:stretch/>
          </p:blipFill>
          <p:spPr bwMode="auto">
            <a:xfrm>
              <a:off x="6338100" y="2325290"/>
              <a:ext cx="437355" cy="56002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19E3BEF-D4ED-EB64-1AFA-83E6073C6610}"/>
                </a:ext>
              </a:extLst>
            </p:cNvPr>
            <p:cNvSpPr txBox="1"/>
            <p:nvPr/>
          </p:nvSpPr>
          <p:spPr>
            <a:xfrm>
              <a:off x="6865137" y="2441055"/>
              <a:ext cx="3220524" cy="654573"/>
            </a:xfrm>
            <a:prstGeom prst="rect">
              <a:avLst/>
            </a:prstGeom>
            <a:noFill/>
          </p:spPr>
          <p:txBody>
            <a:bodyPr wrap="square" rtlCol="0">
              <a:spAutoFit/>
            </a:bodyPr>
            <a:lstStyle/>
            <a:p>
              <a:r>
                <a:rPr lang="en-US" sz="1800" dirty="0">
                  <a:solidFill>
                    <a:schemeClr val="bg1"/>
                  </a:solidFill>
                  <a:latin typeface="Trade Gothic Next Heavy" panose="020B0903040303020004" pitchFamily="34" charset="0"/>
                </a:rPr>
                <a:t>Celebrating Black History</a:t>
              </a:r>
            </a:p>
            <a:p>
              <a:endParaRPr lang="en-GB" dirty="0"/>
            </a:p>
          </p:txBody>
        </p:sp>
      </p:grpSp>
      <p:grpSp>
        <p:nvGrpSpPr>
          <p:cNvPr id="8" name="Group 7">
            <a:extLst>
              <a:ext uri="{FF2B5EF4-FFF2-40B4-BE49-F238E27FC236}">
                <a16:creationId xmlns:a16="http://schemas.microsoft.com/office/drawing/2014/main" id="{B0975243-9FBC-817C-7EC8-7612E03E9524}"/>
              </a:ext>
            </a:extLst>
          </p:cNvPr>
          <p:cNvGrpSpPr/>
          <p:nvPr/>
        </p:nvGrpSpPr>
        <p:grpSpPr>
          <a:xfrm>
            <a:off x="6338099" y="3236408"/>
            <a:ext cx="3747561" cy="771665"/>
            <a:chOff x="6338099" y="3236408"/>
            <a:chExt cx="3747561" cy="771665"/>
          </a:xfrm>
        </p:grpSpPr>
        <p:pic>
          <p:nvPicPr>
            <p:cNvPr id="10" name="Picture 2" descr="Stock Photo and Image Portfolio by Lyonstock | Shutterstock">
              <a:extLst>
                <a:ext uri="{FF2B5EF4-FFF2-40B4-BE49-F238E27FC236}">
                  <a16:creationId xmlns:a16="http://schemas.microsoft.com/office/drawing/2014/main" id="{A844611B-5429-4EFA-ED86-36EF9EF01126}"/>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58305" t="15714" r="17660" b="6025"/>
            <a:stretch/>
          </p:blipFill>
          <p:spPr bwMode="auto">
            <a:xfrm>
              <a:off x="6338099" y="3236408"/>
              <a:ext cx="437355" cy="56002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D2A10968-7933-61FA-44D9-0828D2569ECB}"/>
                </a:ext>
              </a:extLst>
            </p:cNvPr>
            <p:cNvSpPr txBox="1"/>
            <p:nvPr/>
          </p:nvSpPr>
          <p:spPr>
            <a:xfrm>
              <a:off x="6865136" y="3353500"/>
              <a:ext cx="3220524" cy="654573"/>
            </a:xfrm>
            <a:prstGeom prst="rect">
              <a:avLst/>
            </a:prstGeom>
            <a:noFill/>
          </p:spPr>
          <p:txBody>
            <a:bodyPr wrap="square" rtlCol="0">
              <a:spAutoFit/>
            </a:bodyPr>
            <a:lstStyle/>
            <a:p>
              <a:r>
                <a:rPr lang="en-US" sz="1800" dirty="0">
                  <a:solidFill>
                    <a:schemeClr val="bg1"/>
                  </a:solidFill>
                  <a:latin typeface="Trade Gothic Next Heavy" panose="020B0903040303020004" pitchFamily="34" charset="0"/>
                </a:rPr>
                <a:t>Black History trivia</a:t>
              </a:r>
            </a:p>
            <a:p>
              <a:endParaRPr lang="en-GB" dirty="0"/>
            </a:p>
          </p:txBody>
        </p:sp>
      </p:grpSp>
      <p:grpSp>
        <p:nvGrpSpPr>
          <p:cNvPr id="12" name="Group 11">
            <a:extLst>
              <a:ext uri="{FF2B5EF4-FFF2-40B4-BE49-F238E27FC236}">
                <a16:creationId xmlns:a16="http://schemas.microsoft.com/office/drawing/2014/main" id="{8050A98C-8095-76F9-A0CA-1C37086268C4}"/>
              </a:ext>
            </a:extLst>
          </p:cNvPr>
          <p:cNvGrpSpPr/>
          <p:nvPr/>
        </p:nvGrpSpPr>
        <p:grpSpPr>
          <a:xfrm>
            <a:off x="6338098" y="4145316"/>
            <a:ext cx="3747563" cy="757095"/>
            <a:chOff x="6338098" y="4145316"/>
            <a:chExt cx="3747563" cy="757095"/>
          </a:xfrm>
        </p:grpSpPr>
        <p:pic>
          <p:nvPicPr>
            <p:cNvPr id="11" name="Picture 2" descr="Stock Photo and Image Portfolio by Lyonstock | Shutterstock">
              <a:extLst>
                <a:ext uri="{FF2B5EF4-FFF2-40B4-BE49-F238E27FC236}">
                  <a16:creationId xmlns:a16="http://schemas.microsoft.com/office/drawing/2014/main" id="{4B406DCF-2032-FAF7-2DF4-053ABFBB4FDB}"/>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58305" t="15714" r="17660" b="6025"/>
            <a:stretch/>
          </p:blipFill>
          <p:spPr bwMode="auto">
            <a:xfrm>
              <a:off x="6338098" y="4145316"/>
              <a:ext cx="437355" cy="56002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65792E24-106A-3FFF-09FE-9963D4B28605}"/>
                </a:ext>
              </a:extLst>
            </p:cNvPr>
            <p:cNvSpPr txBox="1"/>
            <p:nvPr/>
          </p:nvSpPr>
          <p:spPr>
            <a:xfrm>
              <a:off x="6865137" y="4247838"/>
              <a:ext cx="3220524" cy="654573"/>
            </a:xfrm>
            <a:prstGeom prst="rect">
              <a:avLst/>
            </a:prstGeom>
            <a:noFill/>
          </p:spPr>
          <p:txBody>
            <a:bodyPr wrap="square" rtlCol="0">
              <a:spAutoFit/>
            </a:bodyPr>
            <a:lstStyle/>
            <a:p>
              <a:r>
                <a:rPr lang="en-US" sz="1800" dirty="0">
                  <a:solidFill>
                    <a:schemeClr val="bg1"/>
                  </a:solidFill>
                  <a:latin typeface="Trade Gothic Next Heavy" panose="020B0903040303020004" pitchFamily="34" charset="0"/>
                </a:rPr>
                <a:t>Overcoming challenges</a:t>
              </a:r>
            </a:p>
            <a:p>
              <a:endParaRPr lang="en-GB" dirty="0"/>
            </a:p>
          </p:txBody>
        </p:sp>
      </p:grpSp>
      <p:grpSp>
        <p:nvGrpSpPr>
          <p:cNvPr id="14" name="Group 13">
            <a:extLst>
              <a:ext uri="{FF2B5EF4-FFF2-40B4-BE49-F238E27FC236}">
                <a16:creationId xmlns:a16="http://schemas.microsoft.com/office/drawing/2014/main" id="{15030810-CBB8-C9A9-0640-F48BB3F8BAB6}"/>
              </a:ext>
            </a:extLst>
          </p:cNvPr>
          <p:cNvGrpSpPr/>
          <p:nvPr/>
        </p:nvGrpSpPr>
        <p:grpSpPr>
          <a:xfrm>
            <a:off x="6338099" y="5021112"/>
            <a:ext cx="3747562" cy="754213"/>
            <a:chOff x="6338099" y="5021112"/>
            <a:chExt cx="3747562" cy="754213"/>
          </a:xfrm>
        </p:grpSpPr>
        <p:pic>
          <p:nvPicPr>
            <p:cNvPr id="18" name="Picture 2" descr="Stock Photo and Image Portfolio by Lyonstock | Shutterstock">
              <a:extLst>
                <a:ext uri="{FF2B5EF4-FFF2-40B4-BE49-F238E27FC236}">
                  <a16:creationId xmlns:a16="http://schemas.microsoft.com/office/drawing/2014/main" id="{F2CA7C01-FB04-55DC-CC9B-230218565191}"/>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58305" t="15714" r="17660" b="6025"/>
            <a:stretch/>
          </p:blipFill>
          <p:spPr bwMode="auto">
            <a:xfrm>
              <a:off x="6338099" y="5021112"/>
              <a:ext cx="437355" cy="56002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F104EEC-D854-AC0A-C7AF-0C9176FE48B6}"/>
                </a:ext>
              </a:extLst>
            </p:cNvPr>
            <p:cNvSpPr txBox="1"/>
            <p:nvPr/>
          </p:nvSpPr>
          <p:spPr>
            <a:xfrm>
              <a:off x="6865137" y="5120752"/>
              <a:ext cx="3220524" cy="654573"/>
            </a:xfrm>
            <a:prstGeom prst="rect">
              <a:avLst/>
            </a:prstGeom>
            <a:noFill/>
          </p:spPr>
          <p:txBody>
            <a:bodyPr wrap="square" rtlCol="0">
              <a:spAutoFit/>
            </a:bodyPr>
            <a:lstStyle/>
            <a:p>
              <a:r>
                <a:rPr lang="en-US" sz="1800" dirty="0">
                  <a:solidFill>
                    <a:schemeClr val="bg1"/>
                  </a:solidFill>
                  <a:latin typeface="Trade Gothic Next Heavy" panose="020B0903040303020004" pitchFamily="34" charset="0"/>
                </a:rPr>
                <a:t>How we can all help</a:t>
              </a:r>
            </a:p>
            <a:p>
              <a:endParaRPr lang="en-GB" dirty="0"/>
            </a:p>
          </p:txBody>
        </p:sp>
      </p:grpSp>
      <p:pic>
        <p:nvPicPr>
          <p:cNvPr id="20" name="Picture 19" descr="A black background with white text&#10;&#10;Description automatically generated">
            <a:extLst>
              <a:ext uri="{FF2B5EF4-FFF2-40B4-BE49-F238E27FC236}">
                <a16:creationId xmlns:a16="http://schemas.microsoft.com/office/drawing/2014/main" id="{E96F587E-0AC9-F112-131F-DC9367ADF3D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2613001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descr="A black background with white text&#10;&#10;Description automatically generated">
            <a:extLst>
              <a:ext uri="{FF2B5EF4-FFF2-40B4-BE49-F238E27FC236}">
                <a16:creationId xmlns:a16="http://schemas.microsoft.com/office/drawing/2014/main" id="{F9F2E1F7-946F-638C-97E2-F227656580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32339368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8000" b="-18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white text&#10;&#10;Description automatically generated">
            <a:extLst>
              <a:ext uri="{FF2B5EF4-FFF2-40B4-BE49-F238E27FC236}">
                <a16:creationId xmlns:a16="http://schemas.microsoft.com/office/drawing/2014/main" id="{C30C7769-9B54-97C5-14C7-D4306A0A19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11363469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8000" b="-18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white text&#10;&#10;Description automatically generated">
            <a:extLst>
              <a:ext uri="{FF2B5EF4-FFF2-40B4-BE49-F238E27FC236}">
                <a16:creationId xmlns:a16="http://schemas.microsoft.com/office/drawing/2014/main" id="{60F1E692-C97A-42BC-5E80-37F952C3D4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36851855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white text&#10;&#10;Description automatically generated">
            <a:extLst>
              <a:ext uri="{FF2B5EF4-FFF2-40B4-BE49-F238E27FC236}">
                <a16:creationId xmlns:a16="http://schemas.microsoft.com/office/drawing/2014/main" id="{A660FAC9-A2C2-E31E-DDE6-2FC510EF32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2922277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2000" b="-2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A black background with white text&#10;&#10;Description automatically generated">
            <a:extLst>
              <a:ext uri="{FF2B5EF4-FFF2-40B4-BE49-F238E27FC236}">
                <a16:creationId xmlns:a16="http://schemas.microsoft.com/office/drawing/2014/main" id="{C59C353E-CBAA-0034-5412-771B4F5BCF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18403722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32"/>
          <p:cNvSpPr txBox="1">
            <a:spLocks noGrp="1"/>
          </p:cNvSpPr>
          <p:nvPr>
            <p:ph type="title"/>
          </p:nvPr>
        </p:nvSpPr>
        <p:spPr>
          <a:xfrm>
            <a:off x="4220705" y="1586694"/>
            <a:ext cx="7494900" cy="3684613"/>
          </a:xfrm>
          <a:prstGeom prst="rect">
            <a:avLst/>
          </a:prstGeom>
        </p:spPr>
        <p:txBody>
          <a:bodyPr spcFirstLastPara="1" wrap="square" lIns="121900" tIns="121900" rIns="121900" bIns="121900" anchor="b" anchorCtr="0">
            <a:noAutofit/>
          </a:bodyPr>
          <a:lstStyle/>
          <a:p>
            <a:pPr marL="0" lvl="0" indent="0" algn="r" rtl="0">
              <a:spcBef>
                <a:spcPts val="0"/>
              </a:spcBef>
              <a:spcAft>
                <a:spcPts val="0"/>
              </a:spcAft>
              <a:buNone/>
            </a:pPr>
            <a:r>
              <a:rPr lang="en" sz="12000" dirty="0">
                <a:latin typeface="Trade Gothic Next HvyCd" panose="020B0906040303020004" pitchFamily="34" charset="0"/>
              </a:rPr>
              <a:t>Overcoming Challenges</a:t>
            </a:r>
            <a:endParaRPr sz="12000" dirty="0">
              <a:latin typeface="Trade Gothic Next HvyCd" panose="020B0906040303020004" pitchFamily="34" charset="0"/>
            </a:endParaRPr>
          </a:p>
        </p:txBody>
      </p:sp>
      <p:pic>
        <p:nvPicPr>
          <p:cNvPr id="5" name="Picture 4" descr="A black background with white text&#10;&#10;Description automatically generated">
            <a:extLst>
              <a:ext uri="{FF2B5EF4-FFF2-40B4-BE49-F238E27FC236}">
                <a16:creationId xmlns:a16="http://schemas.microsoft.com/office/drawing/2014/main" id="{4F72EAD4-31F1-3D4E-5390-AF4702434C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32828224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pic>
        <p:nvPicPr>
          <p:cNvPr id="2" name="Picture 2" descr="Code-Switching in the Workplace: Understanding Cultures of Power">
            <a:extLst>
              <a:ext uri="{FF2B5EF4-FFF2-40B4-BE49-F238E27FC236}">
                <a16:creationId xmlns:a16="http://schemas.microsoft.com/office/drawing/2014/main" id="{3247FD30-05A6-5A5D-4FE4-FF6B26AD48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2052" y="1643250"/>
            <a:ext cx="6096000" cy="40576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09B21DE-A419-DE17-AF8B-3DDC3B5A281E}"/>
              </a:ext>
            </a:extLst>
          </p:cNvPr>
          <p:cNvSpPr txBox="1"/>
          <p:nvPr/>
        </p:nvSpPr>
        <p:spPr>
          <a:xfrm>
            <a:off x="4694904" y="453040"/>
            <a:ext cx="6430296" cy="830997"/>
          </a:xfrm>
          <a:prstGeom prst="rect">
            <a:avLst/>
          </a:prstGeom>
          <a:noFill/>
        </p:spPr>
        <p:txBody>
          <a:bodyPr wrap="square" rtlCol="0">
            <a:spAutoFit/>
          </a:bodyPr>
          <a:lstStyle/>
          <a:p>
            <a:pPr algn="ctr"/>
            <a:r>
              <a:rPr lang="en-GB" sz="4800" dirty="0">
                <a:solidFill>
                  <a:schemeClr val="bg1"/>
                </a:solidFill>
                <a:latin typeface="Trade Gothic Next Heavy" panose="020B0903040303020004" pitchFamily="34" charset="0"/>
              </a:rPr>
              <a:t>Code-Switching</a:t>
            </a:r>
          </a:p>
        </p:txBody>
      </p:sp>
      <p:pic>
        <p:nvPicPr>
          <p:cNvPr id="4" name="Picture 3" descr="A black background with white text&#10;&#10;Description automatically generated">
            <a:extLst>
              <a:ext uri="{FF2B5EF4-FFF2-40B4-BE49-F238E27FC236}">
                <a16:creationId xmlns:a16="http://schemas.microsoft.com/office/drawing/2014/main" id="{1D65A96F-B547-64B5-9AAD-3C38E7E712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20791638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a:extLst>
            <a:ext uri="{FF2B5EF4-FFF2-40B4-BE49-F238E27FC236}">
              <a16:creationId xmlns:a16="http://schemas.microsoft.com/office/drawing/2014/main" id="{0CCC6257-49DB-8DCE-302E-0F2ADE4FDFE6}"/>
            </a:ext>
          </a:extLst>
        </p:cNvPr>
        <p:cNvGrpSpPr/>
        <p:nvPr/>
      </p:nvGrpSpPr>
      <p:grpSpPr>
        <a:xfrm>
          <a:off x="0" y="0"/>
          <a:ext cx="0" cy="0"/>
          <a:chOff x="0" y="0"/>
          <a:chExt cx="0" cy="0"/>
        </a:xfrm>
      </p:grpSpPr>
      <p:pic>
        <p:nvPicPr>
          <p:cNvPr id="4" name="Picture 3" descr="A black background with white text&#10;&#10;Description automatically generated">
            <a:extLst>
              <a:ext uri="{FF2B5EF4-FFF2-40B4-BE49-F238E27FC236}">
                <a16:creationId xmlns:a16="http://schemas.microsoft.com/office/drawing/2014/main" id="{66A6DA15-BF09-35FB-6DEA-026DB6F851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
        <p:nvSpPr>
          <p:cNvPr id="6" name="TextBox 5">
            <a:extLst>
              <a:ext uri="{FF2B5EF4-FFF2-40B4-BE49-F238E27FC236}">
                <a16:creationId xmlns:a16="http://schemas.microsoft.com/office/drawing/2014/main" id="{88C1AB80-132E-7B16-A7BE-70BFA3EAA853}"/>
              </a:ext>
            </a:extLst>
          </p:cNvPr>
          <p:cNvSpPr txBox="1"/>
          <p:nvPr/>
        </p:nvSpPr>
        <p:spPr>
          <a:xfrm>
            <a:off x="4175033" y="535620"/>
            <a:ext cx="7338070" cy="830997"/>
          </a:xfrm>
          <a:prstGeom prst="rect">
            <a:avLst/>
          </a:prstGeom>
          <a:noFill/>
        </p:spPr>
        <p:txBody>
          <a:bodyPr wrap="square" rtlCol="0">
            <a:spAutoFit/>
          </a:bodyPr>
          <a:lstStyle/>
          <a:p>
            <a:pPr algn="ctr"/>
            <a:r>
              <a:rPr lang="en-GB" sz="4800" dirty="0">
                <a:solidFill>
                  <a:schemeClr val="bg1"/>
                </a:solidFill>
                <a:latin typeface="Trade Gothic Next Heavy" panose="020B0903040303020004" pitchFamily="34" charset="0"/>
              </a:rPr>
              <a:t>Workplace Discrimination</a:t>
            </a:r>
          </a:p>
        </p:txBody>
      </p:sp>
      <p:grpSp>
        <p:nvGrpSpPr>
          <p:cNvPr id="21" name="Group 20">
            <a:extLst>
              <a:ext uri="{FF2B5EF4-FFF2-40B4-BE49-F238E27FC236}">
                <a16:creationId xmlns:a16="http://schemas.microsoft.com/office/drawing/2014/main" id="{3B30CD21-CAAD-C08F-1667-6EBF1F4D3232}"/>
              </a:ext>
            </a:extLst>
          </p:cNvPr>
          <p:cNvGrpSpPr/>
          <p:nvPr/>
        </p:nvGrpSpPr>
        <p:grpSpPr>
          <a:xfrm>
            <a:off x="3359165" y="3195819"/>
            <a:ext cx="8435270" cy="936000"/>
            <a:chOff x="3359165" y="3195819"/>
            <a:chExt cx="8435270" cy="936000"/>
          </a:xfrm>
        </p:grpSpPr>
        <p:sp>
          <p:nvSpPr>
            <p:cNvPr id="8" name="TextBox 7">
              <a:extLst>
                <a:ext uri="{FF2B5EF4-FFF2-40B4-BE49-F238E27FC236}">
                  <a16:creationId xmlns:a16="http://schemas.microsoft.com/office/drawing/2014/main" id="{5A4F38A8-C7F5-1F30-B9C7-1D5392B4166E}"/>
                </a:ext>
              </a:extLst>
            </p:cNvPr>
            <p:cNvSpPr txBox="1"/>
            <p:nvPr/>
          </p:nvSpPr>
          <p:spPr>
            <a:xfrm>
              <a:off x="4456365" y="3248321"/>
              <a:ext cx="7338070" cy="830997"/>
            </a:xfrm>
            <a:prstGeom prst="rect">
              <a:avLst/>
            </a:prstGeom>
            <a:noFill/>
          </p:spPr>
          <p:txBody>
            <a:bodyPr wrap="square" rtlCol="0">
              <a:spAutoFit/>
            </a:bodyPr>
            <a:lstStyle/>
            <a:p>
              <a:r>
                <a:rPr lang="en-GB" sz="2400" dirty="0">
                  <a:solidFill>
                    <a:schemeClr val="bg1"/>
                  </a:solidFill>
                  <a:latin typeface="Trade Gothic Next Heavy" panose="020B0903040303020004" pitchFamily="34" charset="0"/>
                </a:rPr>
                <a:t>A black employee may be called racial slurs by their colleagues.</a:t>
              </a:r>
            </a:p>
          </p:txBody>
        </p:sp>
        <p:sp>
          <p:nvSpPr>
            <p:cNvPr id="11" name="Oval 10">
              <a:extLst>
                <a:ext uri="{FF2B5EF4-FFF2-40B4-BE49-F238E27FC236}">
                  <a16:creationId xmlns:a16="http://schemas.microsoft.com/office/drawing/2014/main" id="{C7884D06-DCFE-A7B8-6CFE-9E66666231FB}"/>
                </a:ext>
              </a:extLst>
            </p:cNvPr>
            <p:cNvSpPr/>
            <p:nvPr/>
          </p:nvSpPr>
          <p:spPr>
            <a:xfrm>
              <a:off x="3359165" y="3195819"/>
              <a:ext cx="936000" cy="936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Graphic 14" descr="Close with solid fill">
              <a:extLst>
                <a:ext uri="{FF2B5EF4-FFF2-40B4-BE49-F238E27FC236}">
                  <a16:creationId xmlns:a16="http://schemas.microsoft.com/office/drawing/2014/main" id="{ECDF207E-2F88-E746-B412-5CF0AF8097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08225" y="3344879"/>
              <a:ext cx="637879" cy="637879"/>
            </a:xfrm>
            <a:prstGeom prst="rect">
              <a:avLst/>
            </a:prstGeom>
          </p:spPr>
        </p:pic>
      </p:grpSp>
      <p:grpSp>
        <p:nvGrpSpPr>
          <p:cNvPr id="22" name="Group 21">
            <a:extLst>
              <a:ext uri="{FF2B5EF4-FFF2-40B4-BE49-F238E27FC236}">
                <a16:creationId xmlns:a16="http://schemas.microsoft.com/office/drawing/2014/main" id="{A143F886-7BD8-71C9-5898-298CFBF46D87}"/>
              </a:ext>
            </a:extLst>
          </p:cNvPr>
          <p:cNvGrpSpPr/>
          <p:nvPr/>
        </p:nvGrpSpPr>
        <p:grpSpPr>
          <a:xfrm>
            <a:off x="3359165" y="4265622"/>
            <a:ext cx="8435270" cy="936000"/>
            <a:chOff x="3359165" y="4265622"/>
            <a:chExt cx="8435270" cy="936000"/>
          </a:xfrm>
        </p:grpSpPr>
        <p:sp>
          <p:nvSpPr>
            <p:cNvPr id="9" name="TextBox 8">
              <a:extLst>
                <a:ext uri="{FF2B5EF4-FFF2-40B4-BE49-F238E27FC236}">
                  <a16:creationId xmlns:a16="http://schemas.microsoft.com/office/drawing/2014/main" id="{B8103C6C-AC94-57DB-D945-582F28C0C501}"/>
                </a:ext>
              </a:extLst>
            </p:cNvPr>
            <p:cNvSpPr txBox="1"/>
            <p:nvPr/>
          </p:nvSpPr>
          <p:spPr>
            <a:xfrm>
              <a:off x="4456365" y="4318124"/>
              <a:ext cx="7338070" cy="830997"/>
            </a:xfrm>
            <a:prstGeom prst="rect">
              <a:avLst/>
            </a:prstGeom>
            <a:noFill/>
          </p:spPr>
          <p:txBody>
            <a:bodyPr wrap="square" rtlCol="0">
              <a:spAutoFit/>
            </a:bodyPr>
            <a:lstStyle/>
            <a:p>
              <a:r>
                <a:rPr lang="en-GB" sz="2400" dirty="0">
                  <a:solidFill>
                    <a:schemeClr val="bg1"/>
                  </a:solidFill>
                  <a:latin typeface="Trade Gothic Next Heavy" panose="020B0903040303020004" pitchFamily="34" charset="0"/>
                </a:rPr>
                <a:t>A black employee may be stereotyped as being lazy, unintelligent or aggressive by their colleagues.</a:t>
              </a:r>
            </a:p>
          </p:txBody>
        </p:sp>
        <p:sp>
          <p:nvSpPr>
            <p:cNvPr id="14" name="Oval 13">
              <a:extLst>
                <a:ext uri="{FF2B5EF4-FFF2-40B4-BE49-F238E27FC236}">
                  <a16:creationId xmlns:a16="http://schemas.microsoft.com/office/drawing/2014/main" id="{0953B4E6-CF64-77A1-B6DF-7FAE79AC3B8B}"/>
                </a:ext>
              </a:extLst>
            </p:cNvPr>
            <p:cNvSpPr/>
            <p:nvPr/>
          </p:nvSpPr>
          <p:spPr>
            <a:xfrm>
              <a:off x="3359165" y="4265622"/>
              <a:ext cx="936000" cy="936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Graphic 16" descr="Snooze with solid fill">
              <a:extLst>
                <a:ext uri="{FF2B5EF4-FFF2-40B4-BE49-F238E27FC236}">
                  <a16:creationId xmlns:a16="http://schemas.microsoft.com/office/drawing/2014/main" id="{A8A6F8E9-4213-BFB8-C891-984A5CDEFF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79294" y="4385752"/>
              <a:ext cx="695739" cy="695739"/>
            </a:xfrm>
            <a:prstGeom prst="rect">
              <a:avLst/>
            </a:prstGeom>
          </p:spPr>
        </p:pic>
      </p:grpSp>
      <p:grpSp>
        <p:nvGrpSpPr>
          <p:cNvPr id="20" name="Group 19">
            <a:extLst>
              <a:ext uri="{FF2B5EF4-FFF2-40B4-BE49-F238E27FC236}">
                <a16:creationId xmlns:a16="http://schemas.microsoft.com/office/drawing/2014/main" id="{DDE1514A-F95A-57EE-12C2-757861D51BAE}"/>
              </a:ext>
            </a:extLst>
          </p:cNvPr>
          <p:cNvGrpSpPr/>
          <p:nvPr/>
        </p:nvGrpSpPr>
        <p:grpSpPr>
          <a:xfrm>
            <a:off x="3359165" y="1809186"/>
            <a:ext cx="8435270" cy="1200329"/>
            <a:chOff x="3359165" y="1809186"/>
            <a:chExt cx="8435270" cy="1200329"/>
          </a:xfrm>
        </p:grpSpPr>
        <p:sp>
          <p:nvSpPr>
            <p:cNvPr id="7" name="TextBox 6">
              <a:extLst>
                <a:ext uri="{FF2B5EF4-FFF2-40B4-BE49-F238E27FC236}">
                  <a16:creationId xmlns:a16="http://schemas.microsoft.com/office/drawing/2014/main" id="{F5F17B38-B7B5-5750-433A-32B162A229DA}"/>
                </a:ext>
              </a:extLst>
            </p:cNvPr>
            <p:cNvSpPr txBox="1"/>
            <p:nvPr/>
          </p:nvSpPr>
          <p:spPr>
            <a:xfrm>
              <a:off x="4456365" y="1809186"/>
              <a:ext cx="7338070" cy="1200329"/>
            </a:xfrm>
            <a:prstGeom prst="rect">
              <a:avLst/>
            </a:prstGeom>
            <a:noFill/>
          </p:spPr>
          <p:txBody>
            <a:bodyPr wrap="square" rtlCol="0">
              <a:spAutoFit/>
            </a:bodyPr>
            <a:lstStyle/>
            <a:p>
              <a:r>
                <a:rPr lang="en-GB" sz="2400" dirty="0">
                  <a:solidFill>
                    <a:schemeClr val="bg1"/>
                  </a:solidFill>
                  <a:latin typeface="Trade Gothic Next Heavy" panose="020B0903040303020004" pitchFamily="34" charset="0"/>
                </a:rPr>
                <a:t>A black employee may be disciplined for being late to work, even though other employees are often late without being disciplined – singling out!</a:t>
              </a:r>
            </a:p>
          </p:txBody>
        </p:sp>
        <p:sp>
          <p:nvSpPr>
            <p:cNvPr id="2" name="Oval 1">
              <a:extLst>
                <a:ext uri="{FF2B5EF4-FFF2-40B4-BE49-F238E27FC236}">
                  <a16:creationId xmlns:a16="http://schemas.microsoft.com/office/drawing/2014/main" id="{21383097-E540-7108-37DE-D10BFA40D2C0}"/>
                </a:ext>
              </a:extLst>
            </p:cNvPr>
            <p:cNvSpPr/>
            <p:nvPr/>
          </p:nvSpPr>
          <p:spPr>
            <a:xfrm>
              <a:off x="3359165" y="1941350"/>
              <a:ext cx="936000" cy="936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Graphic 18" descr="Clipboard All Crosses with solid fill">
              <a:extLst>
                <a:ext uri="{FF2B5EF4-FFF2-40B4-BE49-F238E27FC236}">
                  <a16:creationId xmlns:a16="http://schemas.microsoft.com/office/drawing/2014/main" id="{CEA30F41-8626-D83E-2737-6872535A4D8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08225" y="2081358"/>
              <a:ext cx="655983" cy="655983"/>
            </a:xfrm>
            <a:prstGeom prst="rect">
              <a:avLst/>
            </a:prstGeom>
          </p:spPr>
        </p:pic>
      </p:grpSp>
    </p:spTree>
    <p:extLst>
      <p:ext uri="{BB962C8B-B14F-4D97-AF65-F5344CB8AC3E}">
        <p14:creationId xmlns:p14="http://schemas.microsoft.com/office/powerpoint/2010/main" val="304264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85"/>
        <p:cNvGrpSpPr/>
        <p:nvPr/>
      </p:nvGrpSpPr>
      <p:grpSpPr>
        <a:xfrm>
          <a:off x="0" y="0"/>
          <a:ext cx="0" cy="0"/>
          <a:chOff x="0" y="0"/>
          <a:chExt cx="0" cy="0"/>
        </a:xfrm>
      </p:grpSpPr>
      <p:sp>
        <p:nvSpPr>
          <p:cNvPr id="486" name="Google Shape;486;p30"/>
          <p:cNvSpPr txBox="1">
            <a:spLocks noGrp="1"/>
          </p:cNvSpPr>
          <p:nvPr>
            <p:ph type="title"/>
          </p:nvPr>
        </p:nvSpPr>
        <p:spPr>
          <a:xfrm>
            <a:off x="1838250" y="1848600"/>
            <a:ext cx="8515500" cy="3160800"/>
          </a:xfrm>
          <a:prstGeom prst="rect">
            <a:avLst/>
          </a:prstGeom>
          <a:effectLst/>
        </p:spPr>
        <p:txBody>
          <a:bodyPr spcFirstLastPara="1" wrap="square" lIns="121900" tIns="121900" rIns="121900" bIns="121900" anchor="ctr" anchorCtr="0">
            <a:noAutofit/>
          </a:bodyPr>
          <a:lstStyle/>
          <a:p>
            <a:pPr marL="0" lvl="0" indent="0" algn="ctr" rtl="0">
              <a:spcBef>
                <a:spcPts val="0"/>
              </a:spcBef>
              <a:spcAft>
                <a:spcPts val="0"/>
              </a:spcAft>
              <a:buNone/>
            </a:pPr>
            <a:r>
              <a:rPr lang="en" sz="4400" dirty="0">
                <a:latin typeface="Trade Gothic Next HvyCd" panose="020B0906040303020004" pitchFamily="34" charset="0"/>
              </a:rPr>
              <a:t>“I have a dream that my four little children will one day live in a nation where they will not be judged by the color of their skin, but by the content of their character…”</a:t>
            </a:r>
            <a:endParaRPr sz="4400" dirty="0">
              <a:latin typeface="Trade Gothic Next HvyCd" panose="020B0906040303020004" pitchFamily="34" charset="0"/>
            </a:endParaRPr>
          </a:p>
        </p:txBody>
      </p:sp>
      <p:sp>
        <p:nvSpPr>
          <p:cNvPr id="487" name="Google Shape;487;p30"/>
          <p:cNvSpPr txBox="1">
            <a:spLocks noGrp="1"/>
          </p:cNvSpPr>
          <p:nvPr>
            <p:ph type="subTitle" idx="1"/>
          </p:nvPr>
        </p:nvSpPr>
        <p:spPr>
          <a:xfrm>
            <a:off x="4624865" y="5350329"/>
            <a:ext cx="2942270" cy="717900"/>
          </a:xfrm>
          <a:prstGeom prst="rect">
            <a:avLst/>
          </a:prstGeom>
        </p:spPr>
        <p:txBody>
          <a:bodyPr spcFirstLastPara="1" wrap="square" lIns="121900" tIns="121900" rIns="121900" bIns="121900" anchor="b" anchorCtr="0">
            <a:noAutofit/>
          </a:bodyPr>
          <a:lstStyle/>
          <a:p>
            <a:pPr marL="0" lvl="0" indent="0" algn="l" rtl="0">
              <a:spcBef>
                <a:spcPts val="0"/>
              </a:spcBef>
              <a:spcAft>
                <a:spcPts val="0"/>
              </a:spcAft>
              <a:buNone/>
            </a:pPr>
            <a:r>
              <a:rPr lang="en" dirty="0">
                <a:latin typeface="Trade Gothic Next HvyCd" panose="020B0906040303020004" pitchFamily="34" charset="0"/>
              </a:rPr>
              <a:t>― Martin Luther King Jr.</a:t>
            </a:r>
            <a:endParaRPr dirty="0">
              <a:latin typeface="Trade Gothic Next HvyCd" panose="020B0906040303020004" pitchFamily="34" charset="0"/>
            </a:endParaRPr>
          </a:p>
        </p:txBody>
      </p:sp>
      <p:pic>
        <p:nvPicPr>
          <p:cNvPr id="3" name="Picture 2" descr="A black background with white text&#10;&#10;Description automatically generated">
            <a:extLst>
              <a:ext uri="{FF2B5EF4-FFF2-40B4-BE49-F238E27FC236}">
                <a16:creationId xmlns:a16="http://schemas.microsoft.com/office/drawing/2014/main" id="{237104D1-5A6C-C1C4-5282-B7F3EF353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6D235D-AE84-1E42-86A2-E4CDC5DB722A}"/>
              </a:ext>
            </a:extLst>
          </p:cNvPr>
          <p:cNvSpPr txBox="1"/>
          <p:nvPr/>
        </p:nvSpPr>
        <p:spPr>
          <a:xfrm>
            <a:off x="78880" y="736032"/>
            <a:ext cx="9022702" cy="1200329"/>
          </a:xfrm>
          <a:prstGeom prst="rect">
            <a:avLst/>
          </a:prstGeom>
          <a:noFill/>
        </p:spPr>
        <p:txBody>
          <a:bodyPr wrap="square" rtlCol="0">
            <a:spAutoFit/>
          </a:bodyPr>
          <a:lstStyle/>
          <a:p>
            <a:endParaRPr lang="en-GB"/>
          </a:p>
          <a:p>
            <a:endParaRPr lang="en-GB"/>
          </a:p>
          <a:p>
            <a:endParaRPr lang="en-GB"/>
          </a:p>
          <a:p>
            <a:endParaRPr lang="en-GB"/>
          </a:p>
        </p:txBody>
      </p:sp>
      <p:grpSp>
        <p:nvGrpSpPr>
          <p:cNvPr id="4" name="Group 3">
            <a:extLst>
              <a:ext uri="{FF2B5EF4-FFF2-40B4-BE49-F238E27FC236}">
                <a16:creationId xmlns:a16="http://schemas.microsoft.com/office/drawing/2014/main" id="{187B3009-7CE8-B31D-049A-0A5A2189531D}"/>
              </a:ext>
            </a:extLst>
          </p:cNvPr>
          <p:cNvGrpSpPr/>
          <p:nvPr/>
        </p:nvGrpSpPr>
        <p:grpSpPr>
          <a:xfrm>
            <a:off x="4402581" y="1294659"/>
            <a:ext cx="6725720" cy="4635189"/>
            <a:chOff x="1992407" y="567466"/>
            <a:chExt cx="8496299" cy="6004084"/>
          </a:xfrm>
        </p:grpSpPr>
        <p:pic>
          <p:nvPicPr>
            <p:cNvPr id="9" name="Picture 2" descr="Daytona State microaggression wall spotlights discriminatory comments">
              <a:extLst>
                <a:ext uri="{FF2B5EF4-FFF2-40B4-BE49-F238E27FC236}">
                  <a16:creationId xmlns:a16="http://schemas.microsoft.com/office/drawing/2014/main" id="{DE8442F0-CC45-701D-0AAF-B26C220A8F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9188"/>
            <a:stretch/>
          </p:blipFill>
          <p:spPr bwMode="auto">
            <a:xfrm>
              <a:off x="1992407" y="567466"/>
              <a:ext cx="8496299" cy="308366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Daytona State microaggression wall spotlights discriminatory comments">
              <a:extLst>
                <a:ext uri="{FF2B5EF4-FFF2-40B4-BE49-F238E27FC236}">
                  <a16:creationId xmlns:a16="http://schemas.microsoft.com/office/drawing/2014/main" id="{592394B0-14D0-7D8B-F808-49FB52EB697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9829" b="-641"/>
            <a:stretch/>
          </p:blipFill>
          <p:spPr bwMode="auto">
            <a:xfrm>
              <a:off x="1992407" y="3487884"/>
              <a:ext cx="8496299" cy="3083666"/>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a:extLst>
              <a:ext uri="{FF2B5EF4-FFF2-40B4-BE49-F238E27FC236}">
                <a16:creationId xmlns:a16="http://schemas.microsoft.com/office/drawing/2014/main" id="{AF1FD8FD-1174-F7B0-AB95-C0BB0D5595C1}"/>
              </a:ext>
            </a:extLst>
          </p:cNvPr>
          <p:cNvSpPr txBox="1"/>
          <p:nvPr/>
        </p:nvSpPr>
        <p:spPr>
          <a:xfrm>
            <a:off x="5180639" y="320533"/>
            <a:ext cx="5169605" cy="830997"/>
          </a:xfrm>
          <a:prstGeom prst="rect">
            <a:avLst/>
          </a:prstGeom>
          <a:noFill/>
        </p:spPr>
        <p:txBody>
          <a:bodyPr wrap="square" rtlCol="0">
            <a:spAutoFit/>
          </a:bodyPr>
          <a:lstStyle/>
          <a:p>
            <a:pPr algn="ctr"/>
            <a:r>
              <a:rPr lang="en-GB" sz="4800" dirty="0">
                <a:solidFill>
                  <a:schemeClr val="bg1"/>
                </a:solidFill>
                <a:latin typeface="Trade Gothic Next Heavy" panose="020B0903040303020004" pitchFamily="34" charset="0"/>
              </a:rPr>
              <a:t>Microaggressions </a:t>
            </a:r>
          </a:p>
        </p:txBody>
      </p:sp>
      <p:pic>
        <p:nvPicPr>
          <p:cNvPr id="3" name="Picture 2" descr="A black background with white text&#10;&#10;Description automatically generated">
            <a:extLst>
              <a:ext uri="{FF2B5EF4-FFF2-40B4-BE49-F238E27FC236}">
                <a16:creationId xmlns:a16="http://schemas.microsoft.com/office/drawing/2014/main" id="{3DECAF3D-EE8F-85D9-F2F7-3FA0E714B1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50244" y="5929848"/>
            <a:ext cx="1841756" cy="949182"/>
          </a:xfrm>
          <a:prstGeom prst="rect">
            <a:avLst/>
          </a:prstGeom>
        </p:spPr>
      </p:pic>
    </p:spTree>
    <p:extLst>
      <p:ext uri="{BB962C8B-B14F-4D97-AF65-F5344CB8AC3E}">
        <p14:creationId xmlns:p14="http://schemas.microsoft.com/office/powerpoint/2010/main" val="927660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3000" r="-3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EEC511E4-444C-919C-BC69-2DD65B31D2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18179" y="840544"/>
            <a:ext cx="5176912" cy="5176912"/>
          </a:xfrm>
          <a:prstGeom prst="ellipse">
            <a:avLst/>
          </a:prstGeom>
          <a:ln>
            <a:noFill/>
          </a:ln>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A51B275-D037-884D-8209-D164F960D99A}"/>
              </a:ext>
            </a:extLst>
          </p:cNvPr>
          <p:cNvSpPr txBox="1"/>
          <p:nvPr/>
        </p:nvSpPr>
        <p:spPr>
          <a:xfrm>
            <a:off x="2594919" y="2767280"/>
            <a:ext cx="3966519" cy="1200329"/>
          </a:xfrm>
          <a:prstGeom prst="rect">
            <a:avLst/>
          </a:prstGeom>
          <a:noFill/>
        </p:spPr>
        <p:txBody>
          <a:bodyPr wrap="square" rtlCol="0">
            <a:spAutoFit/>
          </a:bodyPr>
          <a:lstStyle/>
          <a:p>
            <a:r>
              <a:rPr lang="en-US" sz="7200" b="1" dirty="0">
                <a:solidFill>
                  <a:schemeClr val="bg1"/>
                </a:solidFill>
                <a:latin typeface="Trade Gothic Next HvyCd" panose="020B0906040303020004" pitchFamily="34" charset="0"/>
              </a:rPr>
              <a:t>A</a:t>
            </a:r>
            <a:r>
              <a:rPr lang="en-GB" sz="7200" b="1" dirty="0">
                <a:solidFill>
                  <a:schemeClr val="bg1"/>
                </a:solidFill>
                <a:latin typeface="Trade Gothic Next HvyCd" panose="020B0906040303020004" pitchFamily="34" charset="0"/>
              </a:rPr>
              <a:t>bimbola</a:t>
            </a:r>
          </a:p>
        </p:txBody>
      </p:sp>
      <p:pic>
        <p:nvPicPr>
          <p:cNvPr id="6" name="Picture 5" descr="A black background with white text&#10;&#10;Description automatically generated">
            <a:extLst>
              <a:ext uri="{FF2B5EF4-FFF2-40B4-BE49-F238E27FC236}">
                <a16:creationId xmlns:a16="http://schemas.microsoft.com/office/drawing/2014/main" id="{761F68DE-A2DF-142A-A0CF-F8586CF3EF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1562754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09B21DE-A419-DE17-AF8B-3DDC3B5A281E}"/>
              </a:ext>
            </a:extLst>
          </p:cNvPr>
          <p:cNvSpPr txBox="1"/>
          <p:nvPr/>
        </p:nvSpPr>
        <p:spPr>
          <a:xfrm>
            <a:off x="4280372" y="566677"/>
            <a:ext cx="7231379" cy="830997"/>
          </a:xfrm>
          <a:prstGeom prst="rect">
            <a:avLst/>
          </a:prstGeom>
          <a:noFill/>
        </p:spPr>
        <p:txBody>
          <a:bodyPr wrap="square" rtlCol="0">
            <a:spAutoFit/>
          </a:bodyPr>
          <a:lstStyle/>
          <a:p>
            <a:pPr algn="ctr"/>
            <a:r>
              <a:rPr lang="en-US" sz="4800" dirty="0">
                <a:solidFill>
                  <a:schemeClr val="bg1"/>
                </a:solidFill>
                <a:latin typeface="Trade Gothic Next Heavy" panose="020B0903040303020004" pitchFamily="34" charset="0"/>
              </a:rPr>
              <a:t>M</a:t>
            </a:r>
            <a:r>
              <a:rPr lang="en-GB" sz="4800" dirty="0">
                <a:solidFill>
                  <a:schemeClr val="bg1"/>
                </a:solidFill>
                <a:latin typeface="Trade Gothic Next Heavy" panose="020B0903040303020004" pitchFamily="34" charset="0"/>
              </a:rPr>
              <a:t>icroaggressions</a:t>
            </a:r>
          </a:p>
        </p:txBody>
      </p:sp>
      <p:pic>
        <p:nvPicPr>
          <p:cNvPr id="2" name="Picture 1" descr="A black background with white text&#10;&#10;Description automatically generated">
            <a:extLst>
              <a:ext uri="{FF2B5EF4-FFF2-40B4-BE49-F238E27FC236}">
                <a16:creationId xmlns:a16="http://schemas.microsoft.com/office/drawing/2014/main" id="{2D382359-6385-1784-B95C-832E7F96CF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
        <p:nvSpPr>
          <p:cNvPr id="8" name="TextBox 7">
            <a:extLst>
              <a:ext uri="{FF2B5EF4-FFF2-40B4-BE49-F238E27FC236}">
                <a16:creationId xmlns:a16="http://schemas.microsoft.com/office/drawing/2014/main" id="{BCB84CCE-1258-2BD9-5C86-D1423B2D585A}"/>
              </a:ext>
            </a:extLst>
          </p:cNvPr>
          <p:cNvSpPr txBox="1"/>
          <p:nvPr/>
        </p:nvSpPr>
        <p:spPr>
          <a:xfrm>
            <a:off x="4024897" y="1397674"/>
            <a:ext cx="7380837" cy="4524315"/>
          </a:xfrm>
          <a:prstGeom prst="rect">
            <a:avLst/>
          </a:prstGeom>
          <a:noFill/>
        </p:spPr>
        <p:txBody>
          <a:bodyPr wrap="square">
            <a:spAutoFit/>
          </a:bodyPr>
          <a:lstStyle/>
          <a:p>
            <a:pPr algn="ctr"/>
            <a:endParaRPr lang="en-US" sz="2000" dirty="0">
              <a:solidFill>
                <a:schemeClr val="bg1"/>
              </a:solidFill>
              <a:latin typeface="Trade Gothic Next HvyCd" panose="020B0906040303020004" pitchFamily="34" charset="0"/>
            </a:endParaRPr>
          </a:p>
          <a:p>
            <a:pPr algn="ctr"/>
            <a:r>
              <a:rPr lang="en-US" sz="2000" dirty="0">
                <a:solidFill>
                  <a:schemeClr val="bg1"/>
                </a:solidFill>
                <a:latin typeface="Trade Gothic Next HvyCd" panose="020B0906040303020004" pitchFamily="34" charset="0"/>
              </a:rPr>
              <a:t>“ I work in a large office, and it so happened that one day, an envelope holding a fair amount of money was missing. </a:t>
            </a:r>
          </a:p>
          <a:p>
            <a:pPr algn="ctr"/>
            <a:endParaRPr lang="en-US" sz="2000" dirty="0">
              <a:solidFill>
                <a:schemeClr val="bg1"/>
              </a:solidFill>
              <a:latin typeface="Trade Gothic Next HvyCd" panose="020B0906040303020004" pitchFamily="34" charset="0"/>
            </a:endParaRPr>
          </a:p>
          <a:p>
            <a:pPr algn="ctr"/>
            <a:r>
              <a:rPr lang="en-US" sz="2000" dirty="0">
                <a:solidFill>
                  <a:schemeClr val="bg1"/>
                </a:solidFill>
                <a:latin typeface="Trade Gothic Next HvyCd" panose="020B0906040303020004" pitchFamily="34" charset="0"/>
              </a:rPr>
              <a:t>The boss called me in private and requested that I confess to the crime, and he would not make it public. </a:t>
            </a:r>
          </a:p>
          <a:p>
            <a:pPr algn="ctr"/>
            <a:endParaRPr lang="en-US" sz="2000" dirty="0">
              <a:solidFill>
                <a:schemeClr val="bg1"/>
              </a:solidFill>
              <a:latin typeface="Trade Gothic Next HvyCd" panose="020B0906040303020004" pitchFamily="34" charset="0"/>
            </a:endParaRPr>
          </a:p>
          <a:p>
            <a:pPr algn="ctr"/>
            <a:r>
              <a:rPr lang="en-US" sz="2000" dirty="0">
                <a:solidFill>
                  <a:schemeClr val="bg1"/>
                </a:solidFill>
                <a:latin typeface="Trade Gothic Next HvyCd" panose="020B0906040303020004" pitchFamily="34" charset="0"/>
              </a:rPr>
              <a:t>I denied taking the money, but everyone didn't believe me. I felt bad and cried on the drive home.</a:t>
            </a:r>
          </a:p>
          <a:p>
            <a:pPr algn="ctr"/>
            <a:endParaRPr lang="en-US" sz="2000" dirty="0">
              <a:solidFill>
                <a:schemeClr val="bg1"/>
              </a:solidFill>
              <a:latin typeface="Trade Gothic Next HvyCd" panose="020B0906040303020004" pitchFamily="34" charset="0"/>
            </a:endParaRPr>
          </a:p>
          <a:p>
            <a:pPr algn="ctr"/>
            <a:r>
              <a:rPr lang="en-US" sz="2000" dirty="0">
                <a:solidFill>
                  <a:schemeClr val="bg1"/>
                </a:solidFill>
                <a:latin typeface="Trade Gothic Next HvyCd" panose="020B0906040303020004" pitchFamily="34" charset="0"/>
              </a:rPr>
              <a:t> The money was later found -  it happened that the envelope was missing, he forgot he had left it in his car and thought he filed it.</a:t>
            </a:r>
          </a:p>
          <a:p>
            <a:pPr algn="ctr"/>
            <a:endParaRPr lang="en-US" sz="2000" dirty="0">
              <a:solidFill>
                <a:schemeClr val="bg1"/>
              </a:solidFill>
              <a:latin typeface="Trade Gothic Next HvyCd" panose="020B0906040303020004" pitchFamily="34" charset="0"/>
            </a:endParaRPr>
          </a:p>
          <a:p>
            <a:pPr algn="ctr"/>
            <a:r>
              <a:rPr lang="en-US" sz="2000" dirty="0">
                <a:solidFill>
                  <a:schemeClr val="bg1"/>
                </a:solidFill>
                <a:latin typeface="Trade Gothic Next HvyCd" panose="020B0906040303020004" pitchFamily="34" charset="0"/>
              </a:rPr>
              <a:t> He never </a:t>
            </a:r>
            <a:r>
              <a:rPr lang="en-US" sz="2000" dirty="0" err="1">
                <a:solidFill>
                  <a:schemeClr val="bg1"/>
                </a:solidFill>
                <a:latin typeface="Trade Gothic Next HvyCd" panose="020B0906040303020004" pitchFamily="34" charset="0"/>
              </a:rPr>
              <a:t>apologised</a:t>
            </a:r>
            <a:r>
              <a:rPr lang="en-US" sz="2000" dirty="0">
                <a:solidFill>
                  <a:schemeClr val="bg1"/>
                </a:solidFill>
                <a:latin typeface="Trade Gothic Next HvyCd" panose="020B0906040303020004" pitchFamily="34" charset="0"/>
              </a:rPr>
              <a:t>.”</a:t>
            </a:r>
            <a:endParaRPr lang="en-GB" sz="2000" dirty="0">
              <a:solidFill>
                <a:schemeClr val="bg1"/>
              </a:solidFill>
              <a:latin typeface="Trade Gothic Next HvyCd" panose="020B0906040303020004" pitchFamily="34" charset="0"/>
            </a:endParaRPr>
          </a:p>
        </p:txBody>
      </p:sp>
    </p:spTree>
    <p:extLst>
      <p:ext uri="{BB962C8B-B14F-4D97-AF65-F5344CB8AC3E}">
        <p14:creationId xmlns:p14="http://schemas.microsoft.com/office/powerpoint/2010/main" val="29021931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32"/>
          <p:cNvSpPr txBox="1">
            <a:spLocks noGrp="1"/>
          </p:cNvSpPr>
          <p:nvPr>
            <p:ph type="title"/>
          </p:nvPr>
        </p:nvSpPr>
        <p:spPr>
          <a:xfrm>
            <a:off x="4220705" y="1586694"/>
            <a:ext cx="7494900" cy="3684613"/>
          </a:xfrm>
          <a:prstGeom prst="rect">
            <a:avLst/>
          </a:prstGeom>
        </p:spPr>
        <p:txBody>
          <a:bodyPr spcFirstLastPara="1" wrap="square" lIns="121900" tIns="121900" rIns="121900" bIns="121900" anchor="b" anchorCtr="0">
            <a:noAutofit/>
          </a:bodyPr>
          <a:lstStyle/>
          <a:p>
            <a:pPr marL="0" lvl="0" indent="0" algn="r" rtl="0">
              <a:spcBef>
                <a:spcPts val="0"/>
              </a:spcBef>
              <a:spcAft>
                <a:spcPts val="0"/>
              </a:spcAft>
              <a:buNone/>
            </a:pPr>
            <a:r>
              <a:rPr lang="en" sz="12000" dirty="0">
                <a:latin typeface="Trade Gothic Next HvyCd" panose="020B0906040303020004" pitchFamily="34" charset="0"/>
              </a:rPr>
              <a:t>How we can all help</a:t>
            </a:r>
            <a:endParaRPr sz="12000" dirty="0">
              <a:latin typeface="Trade Gothic Next HvyCd" panose="020B0906040303020004" pitchFamily="34" charset="0"/>
            </a:endParaRPr>
          </a:p>
        </p:txBody>
      </p:sp>
      <p:pic>
        <p:nvPicPr>
          <p:cNvPr id="5" name="Picture 4" descr="A black background with white text&#10;&#10;Description automatically generated">
            <a:extLst>
              <a:ext uri="{FF2B5EF4-FFF2-40B4-BE49-F238E27FC236}">
                <a16:creationId xmlns:a16="http://schemas.microsoft.com/office/drawing/2014/main" id="{4F72EAD4-31F1-3D4E-5390-AF4702434C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1912551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E6FF5E-7ADF-AF28-932E-5647FE6036A9}"/>
              </a:ext>
            </a:extLst>
          </p:cNvPr>
          <p:cNvSpPr>
            <a:spLocks noGrp="1"/>
          </p:cNvSpPr>
          <p:nvPr>
            <p:ph type="title"/>
          </p:nvPr>
        </p:nvSpPr>
        <p:spPr>
          <a:xfrm>
            <a:off x="79325" y="589818"/>
            <a:ext cx="11251681" cy="800944"/>
          </a:xfrm>
        </p:spPr>
        <p:txBody>
          <a:bodyPr/>
          <a:lstStyle/>
          <a:p>
            <a:br>
              <a:rPr lang="en-GB"/>
            </a:br>
            <a:br>
              <a:rPr lang="en-GB"/>
            </a:br>
            <a:endParaRPr lang="en-GB"/>
          </a:p>
        </p:txBody>
      </p:sp>
      <p:sp>
        <p:nvSpPr>
          <p:cNvPr id="2" name="TextBox 1">
            <a:extLst>
              <a:ext uri="{FF2B5EF4-FFF2-40B4-BE49-F238E27FC236}">
                <a16:creationId xmlns:a16="http://schemas.microsoft.com/office/drawing/2014/main" id="{106D235D-AE84-1E42-86A2-E4CDC5DB722A}"/>
              </a:ext>
            </a:extLst>
          </p:cNvPr>
          <p:cNvSpPr txBox="1"/>
          <p:nvPr/>
        </p:nvSpPr>
        <p:spPr>
          <a:xfrm>
            <a:off x="361308" y="958940"/>
            <a:ext cx="9022702" cy="1200329"/>
          </a:xfrm>
          <a:prstGeom prst="rect">
            <a:avLst/>
          </a:prstGeom>
          <a:noFill/>
        </p:spPr>
        <p:txBody>
          <a:bodyPr wrap="square" rtlCol="0">
            <a:spAutoFit/>
          </a:bodyPr>
          <a:lstStyle/>
          <a:p>
            <a:endParaRPr lang="en-GB"/>
          </a:p>
          <a:p>
            <a:endParaRPr lang="en-GB"/>
          </a:p>
          <a:p>
            <a:endParaRPr lang="en-GB"/>
          </a:p>
          <a:p>
            <a:endParaRPr lang="en-GB"/>
          </a:p>
        </p:txBody>
      </p:sp>
      <p:pic>
        <p:nvPicPr>
          <p:cNvPr id="3" name="Picture 2" descr="A black background with white text&#10;&#10;Description automatically generated">
            <a:extLst>
              <a:ext uri="{FF2B5EF4-FFF2-40B4-BE49-F238E27FC236}">
                <a16:creationId xmlns:a16="http://schemas.microsoft.com/office/drawing/2014/main" id="{4C596D35-3551-D670-A803-37D715AB2C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4489517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8000" b="-8000"/>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6D235D-AE84-1E42-86A2-E4CDC5DB722A}"/>
              </a:ext>
            </a:extLst>
          </p:cNvPr>
          <p:cNvSpPr txBox="1"/>
          <p:nvPr/>
        </p:nvSpPr>
        <p:spPr>
          <a:xfrm>
            <a:off x="-197492" y="790597"/>
            <a:ext cx="9022702" cy="1200329"/>
          </a:xfrm>
          <a:prstGeom prst="rect">
            <a:avLst/>
          </a:prstGeom>
          <a:noFill/>
        </p:spPr>
        <p:txBody>
          <a:bodyPr wrap="square" rtlCol="0">
            <a:spAutoFit/>
          </a:bodyPr>
          <a:lstStyle/>
          <a:p>
            <a:endParaRPr lang="en-GB"/>
          </a:p>
          <a:p>
            <a:endParaRPr lang="en-GB"/>
          </a:p>
          <a:p>
            <a:endParaRPr lang="en-GB"/>
          </a:p>
          <a:p>
            <a:endParaRPr lang="en-GB"/>
          </a:p>
        </p:txBody>
      </p:sp>
      <p:pic>
        <p:nvPicPr>
          <p:cNvPr id="3" name="Picture 2" descr="A black background with white text&#10;&#10;Description automatically generated">
            <a:extLst>
              <a:ext uri="{FF2B5EF4-FFF2-40B4-BE49-F238E27FC236}">
                <a16:creationId xmlns:a16="http://schemas.microsoft.com/office/drawing/2014/main" id="{2265868C-5C9F-3E7D-114E-6A5DB9E053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5080525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91"/>
        <p:cNvGrpSpPr/>
        <p:nvPr/>
      </p:nvGrpSpPr>
      <p:grpSpPr>
        <a:xfrm>
          <a:off x="0" y="0"/>
          <a:ext cx="0" cy="0"/>
          <a:chOff x="0" y="0"/>
          <a:chExt cx="0" cy="0"/>
        </a:xfrm>
      </p:grpSpPr>
      <p:sp>
        <p:nvSpPr>
          <p:cNvPr id="792" name="Google Shape;792;p39"/>
          <p:cNvSpPr txBox="1">
            <a:spLocks noGrp="1"/>
          </p:cNvSpPr>
          <p:nvPr>
            <p:ph type="title"/>
          </p:nvPr>
        </p:nvSpPr>
        <p:spPr>
          <a:xfrm>
            <a:off x="4792718" y="1302163"/>
            <a:ext cx="7375838" cy="1455670"/>
          </a:xfrm>
          <a:prstGeom prst="rect">
            <a:avLst/>
          </a:prstGeom>
        </p:spPr>
        <p:txBody>
          <a:bodyPr spcFirstLastPara="1" wrap="square" lIns="121900" tIns="121900" rIns="121900" bIns="121900" anchor="t" anchorCtr="0">
            <a:noAutofit/>
          </a:bodyPr>
          <a:lstStyle/>
          <a:p>
            <a:pPr marL="0" lvl="0" indent="0" algn="l" rtl="0">
              <a:spcBef>
                <a:spcPts val="0"/>
              </a:spcBef>
              <a:spcAft>
                <a:spcPts val="0"/>
              </a:spcAft>
              <a:buNone/>
            </a:pPr>
            <a:r>
              <a:rPr lang="en" sz="6000" dirty="0">
                <a:latin typeface="Trade Gothic Next HvyCd" panose="020B0906040303020004" pitchFamily="34" charset="0"/>
              </a:rPr>
              <a:t>Thank you for listening!</a:t>
            </a:r>
            <a:endParaRPr sz="6000" dirty="0">
              <a:latin typeface="Trade Gothic Next HvyCd" panose="020B0906040303020004" pitchFamily="34" charset="0"/>
            </a:endParaRPr>
          </a:p>
        </p:txBody>
      </p:sp>
      <p:sp>
        <p:nvSpPr>
          <p:cNvPr id="794" name="Google Shape;794;p39"/>
          <p:cNvSpPr txBox="1">
            <a:spLocks noGrp="1"/>
          </p:cNvSpPr>
          <p:nvPr>
            <p:ph type="body" idx="2"/>
          </p:nvPr>
        </p:nvSpPr>
        <p:spPr>
          <a:xfrm>
            <a:off x="5379564" y="3859767"/>
            <a:ext cx="6451784" cy="1341600"/>
          </a:xfrm>
          <a:prstGeom prst="rect">
            <a:avLst/>
          </a:prstGeom>
        </p:spPr>
        <p:txBody>
          <a:bodyPr spcFirstLastPara="1" wrap="square" lIns="121900" tIns="121900" rIns="121900" bIns="121900" anchor="t" anchorCtr="0">
            <a:noAutofit/>
          </a:bodyPr>
          <a:lstStyle/>
          <a:p>
            <a:pPr marL="0" lvl="0" indent="0" algn="l" rtl="0">
              <a:spcBef>
                <a:spcPts val="0"/>
              </a:spcBef>
              <a:spcAft>
                <a:spcPts val="0"/>
              </a:spcAft>
              <a:buNone/>
            </a:pPr>
            <a:r>
              <a:rPr lang="en-US" sz="2100" dirty="0">
                <a:latin typeface="Trade Gothic Next HvyCd" panose="020B0906040303020004" pitchFamily="34" charset="0"/>
              </a:rPr>
              <a:t>Scan the QR code to connect with me on my socials</a:t>
            </a:r>
            <a:endParaRPr sz="2100" dirty="0">
              <a:latin typeface="Trade Gothic Next HvyCd" panose="020B0906040303020004" pitchFamily="34" charset="0"/>
            </a:endParaRPr>
          </a:p>
        </p:txBody>
      </p:sp>
      <p:sp>
        <p:nvSpPr>
          <p:cNvPr id="795" name="Google Shape;795;p39"/>
          <p:cNvSpPr/>
          <p:nvPr/>
        </p:nvSpPr>
        <p:spPr>
          <a:xfrm>
            <a:off x="6642101" y="4770967"/>
            <a:ext cx="990600" cy="990600"/>
          </a:xfrm>
          <a:custGeom>
            <a:avLst/>
            <a:gdLst/>
            <a:ahLst/>
            <a:cxnLst/>
            <a:rect l="l" t="t" r="r" b="b"/>
            <a:pathLst>
              <a:path w="990600" h="990600" extrusionOk="0">
                <a:moveTo>
                  <a:pt x="553281" y="181625"/>
                </a:moveTo>
                <a:cubicBezTo>
                  <a:pt x="459275" y="181625"/>
                  <a:pt x="416571" y="223117"/>
                  <a:pt x="416571" y="302478"/>
                </a:cubicBezTo>
                <a:lnTo>
                  <a:pt x="416571" y="386669"/>
                </a:lnTo>
                <a:lnTo>
                  <a:pt x="350631" y="386669"/>
                </a:lnTo>
                <a:lnTo>
                  <a:pt x="350631" y="494093"/>
                </a:lnTo>
                <a:lnTo>
                  <a:pt x="416571" y="494093"/>
                </a:lnTo>
                <a:lnTo>
                  <a:pt x="416571" y="808976"/>
                </a:lnTo>
                <a:lnTo>
                  <a:pt x="542303" y="808976"/>
                </a:lnTo>
                <a:lnTo>
                  <a:pt x="542303" y="491642"/>
                </a:lnTo>
                <a:lnTo>
                  <a:pt x="631407" y="491642"/>
                </a:lnTo>
                <a:lnTo>
                  <a:pt x="639933" y="386669"/>
                </a:lnTo>
                <a:lnTo>
                  <a:pt x="542303" y="386669"/>
                </a:lnTo>
                <a:lnTo>
                  <a:pt x="542303" y="325639"/>
                </a:lnTo>
                <a:cubicBezTo>
                  <a:pt x="542303" y="301234"/>
                  <a:pt x="548378" y="291465"/>
                  <a:pt x="571578" y="291465"/>
                </a:cubicBezTo>
                <a:lnTo>
                  <a:pt x="639933" y="291465"/>
                </a:lnTo>
                <a:lnTo>
                  <a:pt x="639933" y="181625"/>
                </a:lnTo>
                <a:close/>
                <a:moveTo>
                  <a:pt x="165103" y="0"/>
                </a:moveTo>
                <a:lnTo>
                  <a:pt x="825497" y="0"/>
                </a:lnTo>
                <a:cubicBezTo>
                  <a:pt x="916681" y="0"/>
                  <a:pt x="990600" y="73919"/>
                  <a:pt x="990600" y="165103"/>
                </a:cubicBezTo>
                <a:lnTo>
                  <a:pt x="990600" y="825497"/>
                </a:lnTo>
                <a:cubicBezTo>
                  <a:pt x="990600" y="916681"/>
                  <a:pt x="916681" y="990600"/>
                  <a:pt x="825497" y="990600"/>
                </a:cubicBezTo>
                <a:lnTo>
                  <a:pt x="165103" y="990600"/>
                </a:lnTo>
                <a:cubicBezTo>
                  <a:pt x="73919" y="990600"/>
                  <a:pt x="0" y="916681"/>
                  <a:pt x="0" y="825497"/>
                </a:cubicBezTo>
                <a:lnTo>
                  <a:pt x="0" y="165103"/>
                </a:lnTo>
                <a:cubicBezTo>
                  <a:pt x="0" y="73919"/>
                  <a:pt x="73919" y="0"/>
                  <a:pt x="165103" y="0"/>
                </a:cubicBezTo>
                <a:close/>
              </a:path>
            </a:pathLst>
          </a:custGeom>
          <a:solidFill>
            <a:srgbClr val="E9BD0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6" name="Google Shape;796;p39"/>
          <p:cNvSpPr/>
          <p:nvPr/>
        </p:nvSpPr>
        <p:spPr>
          <a:xfrm>
            <a:off x="5359400" y="4770967"/>
            <a:ext cx="990600" cy="990600"/>
          </a:xfrm>
          <a:custGeom>
            <a:avLst/>
            <a:gdLst/>
            <a:ahLst/>
            <a:cxnLst/>
            <a:rect l="l" t="t" r="r" b="b"/>
            <a:pathLst>
              <a:path w="990600" h="990600" extrusionOk="0">
                <a:moveTo>
                  <a:pt x="611938" y="247791"/>
                </a:moveTo>
                <a:cubicBezTo>
                  <a:pt x="531713" y="247791"/>
                  <a:pt x="472469" y="323103"/>
                  <a:pt x="490971" y="400856"/>
                </a:cubicBezTo>
                <a:cubicBezTo>
                  <a:pt x="387286" y="395934"/>
                  <a:pt x="294702" y="346529"/>
                  <a:pt x="233016" y="271254"/>
                </a:cubicBezTo>
                <a:cubicBezTo>
                  <a:pt x="200896" y="326803"/>
                  <a:pt x="216956" y="400856"/>
                  <a:pt x="272499" y="437901"/>
                </a:cubicBezTo>
                <a:cubicBezTo>
                  <a:pt x="251518" y="436643"/>
                  <a:pt x="233016" y="431721"/>
                  <a:pt x="215735" y="421840"/>
                </a:cubicBezTo>
                <a:cubicBezTo>
                  <a:pt x="214477" y="479868"/>
                  <a:pt x="255218" y="534196"/>
                  <a:pt x="315720" y="545299"/>
                </a:cubicBezTo>
                <a:cubicBezTo>
                  <a:pt x="305248" y="548296"/>
                  <a:pt x="293888" y="549925"/>
                  <a:pt x="282157" y="549925"/>
                </a:cubicBezTo>
                <a:cubicBezTo>
                  <a:pt x="274497" y="549925"/>
                  <a:pt x="266727" y="549221"/>
                  <a:pt x="258919" y="547778"/>
                </a:cubicBezTo>
                <a:cubicBezTo>
                  <a:pt x="274978" y="597147"/>
                  <a:pt x="320642" y="632933"/>
                  <a:pt x="376185" y="634192"/>
                </a:cubicBezTo>
                <a:cubicBezTo>
                  <a:pt x="331077" y="669867"/>
                  <a:pt x="277051" y="687705"/>
                  <a:pt x="220916" y="687705"/>
                </a:cubicBezTo>
                <a:cubicBezTo>
                  <a:pt x="210998" y="687705"/>
                  <a:pt x="201044" y="687150"/>
                  <a:pt x="191016" y="686040"/>
                </a:cubicBezTo>
                <a:cubicBezTo>
                  <a:pt x="246596" y="721827"/>
                  <a:pt x="311983" y="742810"/>
                  <a:pt x="382364" y="742810"/>
                </a:cubicBezTo>
                <a:cubicBezTo>
                  <a:pt x="614417" y="742810"/>
                  <a:pt x="745263" y="546520"/>
                  <a:pt x="736604" y="371250"/>
                </a:cubicBezTo>
                <a:cubicBezTo>
                  <a:pt x="761286" y="353967"/>
                  <a:pt x="782304" y="331725"/>
                  <a:pt x="799585" y="307041"/>
                </a:cubicBezTo>
                <a:cubicBezTo>
                  <a:pt x="776125" y="316922"/>
                  <a:pt x="752664" y="323103"/>
                  <a:pt x="727982" y="326803"/>
                </a:cubicBezTo>
                <a:cubicBezTo>
                  <a:pt x="752664" y="310742"/>
                  <a:pt x="772424" y="286058"/>
                  <a:pt x="782304" y="257672"/>
                </a:cubicBezTo>
                <a:cubicBezTo>
                  <a:pt x="757586" y="271254"/>
                  <a:pt x="731683" y="282357"/>
                  <a:pt x="703301" y="287279"/>
                </a:cubicBezTo>
                <a:cubicBezTo>
                  <a:pt x="679840" y="263816"/>
                  <a:pt x="647758" y="247791"/>
                  <a:pt x="611938" y="247791"/>
                </a:cubicBezTo>
                <a:close/>
                <a:moveTo>
                  <a:pt x="165103" y="0"/>
                </a:moveTo>
                <a:lnTo>
                  <a:pt x="825497" y="0"/>
                </a:lnTo>
                <a:cubicBezTo>
                  <a:pt x="916681" y="0"/>
                  <a:pt x="990600" y="73919"/>
                  <a:pt x="990600" y="165103"/>
                </a:cubicBezTo>
                <a:lnTo>
                  <a:pt x="990600" y="825497"/>
                </a:lnTo>
                <a:cubicBezTo>
                  <a:pt x="990600" y="916681"/>
                  <a:pt x="916681" y="990600"/>
                  <a:pt x="825497" y="990600"/>
                </a:cubicBezTo>
                <a:lnTo>
                  <a:pt x="165103" y="990600"/>
                </a:lnTo>
                <a:cubicBezTo>
                  <a:pt x="73919" y="990600"/>
                  <a:pt x="0" y="916681"/>
                  <a:pt x="0" y="825497"/>
                </a:cubicBezTo>
                <a:lnTo>
                  <a:pt x="0" y="165103"/>
                </a:lnTo>
                <a:cubicBezTo>
                  <a:pt x="0" y="73919"/>
                  <a:pt x="73919" y="0"/>
                  <a:pt x="165103" y="0"/>
                </a:cubicBezTo>
                <a:close/>
              </a:path>
            </a:pathLst>
          </a:custGeom>
          <a:solidFill>
            <a:srgbClr val="BD0D0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97" name="Google Shape;797;p39"/>
          <p:cNvSpPr/>
          <p:nvPr/>
        </p:nvSpPr>
        <p:spPr>
          <a:xfrm>
            <a:off x="7924801" y="4770967"/>
            <a:ext cx="990600" cy="990600"/>
          </a:xfrm>
          <a:custGeom>
            <a:avLst/>
            <a:gdLst/>
            <a:ahLst/>
            <a:cxnLst/>
            <a:rect l="l" t="t" r="r" b="b"/>
            <a:pathLst>
              <a:path w="990600" h="990600" extrusionOk="0">
                <a:moveTo>
                  <a:pt x="496250" y="385031"/>
                </a:moveTo>
                <a:cubicBezTo>
                  <a:pt x="557381" y="385031"/>
                  <a:pt x="605619" y="435051"/>
                  <a:pt x="605619" y="494409"/>
                </a:cubicBezTo>
                <a:cubicBezTo>
                  <a:pt x="605619" y="555545"/>
                  <a:pt x="557381" y="605622"/>
                  <a:pt x="496250" y="605622"/>
                </a:cubicBezTo>
                <a:cubicBezTo>
                  <a:pt x="435063" y="605622"/>
                  <a:pt x="386880" y="555545"/>
                  <a:pt x="386880" y="494409"/>
                </a:cubicBezTo>
                <a:cubicBezTo>
                  <a:pt x="386880" y="435051"/>
                  <a:pt x="435063" y="385031"/>
                  <a:pt x="496250" y="385031"/>
                </a:cubicBezTo>
                <a:close/>
                <a:moveTo>
                  <a:pt x="496250" y="325673"/>
                </a:moveTo>
                <a:cubicBezTo>
                  <a:pt x="401663" y="325673"/>
                  <a:pt x="327527" y="401704"/>
                  <a:pt x="327527" y="494409"/>
                </a:cubicBezTo>
                <a:cubicBezTo>
                  <a:pt x="327527" y="588948"/>
                  <a:pt x="401663" y="664924"/>
                  <a:pt x="496250" y="664924"/>
                </a:cubicBezTo>
                <a:cubicBezTo>
                  <a:pt x="588947" y="664924"/>
                  <a:pt x="664916" y="588948"/>
                  <a:pt x="664916" y="494409"/>
                </a:cubicBezTo>
                <a:cubicBezTo>
                  <a:pt x="664916" y="401704"/>
                  <a:pt x="588947" y="325673"/>
                  <a:pt x="496250" y="325673"/>
                </a:cubicBezTo>
                <a:close/>
                <a:moveTo>
                  <a:pt x="672371" y="279322"/>
                </a:moveTo>
                <a:cubicBezTo>
                  <a:pt x="650086" y="279322"/>
                  <a:pt x="631580" y="297885"/>
                  <a:pt x="631580" y="320117"/>
                </a:cubicBezTo>
                <a:cubicBezTo>
                  <a:pt x="631580" y="340514"/>
                  <a:pt x="650086" y="359077"/>
                  <a:pt x="672371" y="359077"/>
                </a:cubicBezTo>
                <a:cubicBezTo>
                  <a:pt x="694601" y="359077"/>
                  <a:pt x="711273" y="340514"/>
                  <a:pt x="711273" y="320117"/>
                </a:cubicBezTo>
                <a:cubicBezTo>
                  <a:pt x="711273" y="297885"/>
                  <a:pt x="692767" y="279322"/>
                  <a:pt x="672371" y="279322"/>
                </a:cubicBezTo>
                <a:close/>
                <a:moveTo>
                  <a:pt x="496245" y="225578"/>
                </a:moveTo>
                <a:cubicBezTo>
                  <a:pt x="583330" y="225578"/>
                  <a:pt x="594500" y="225578"/>
                  <a:pt x="629678" y="227412"/>
                </a:cubicBezTo>
                <a:cubicBezTo>
                  <a:pt x="661189" y="229301"/>
                  <a:pt x="677917" y="232970"/>
                  <a:pt x="690865" y="238527"/>
                </a:cubicBezTo>
                <a:cubicBezTo>
                  <a:pt x="705704" y="244085"/>
                  <a:pt x="716818" y="251533"/>
                  <a:pt x="727933" y="262648"/>
                </a:cubicBezTo>
                <a:cubicBezTo>
                  <a:pt x="739048" y="273764"/>
                  <a:pt x="746495" y="284880"/>
                  <a:pt x="752052" y="301554"/>
                </a:cubicBezTo>
                <a:cubicBezTo>
                  <a:pt x="757610" y="312725"/>
                  <a:pt x="763167" y="329399"/>
                  <a:pt x="763167" y="362746"/>
                </a:cubicBezTo>
                <a:cubicBezTo>
                  <a:pt x="765001" y="396148"/>
                  <a:pt x="765001" y="407264"/>
                  <a:pt x="765001" y="494411"/>
                </a:cubicBezTo>
                <a:cubicBezTo>
                  <a:pt x="765001" y="583392"/>
                  <a:pt x="765001" y="594508"/>
                  <a:pt x="763167" y="627855"/>
                </a:cubicBezTo>
                <a:cubicBezTo>
                  <a:pt x="763167" y="661258"/>
                  <a:pt x="757610" y="677931"/>
                  <a:pt x="752052" y="689047"/>
                </a:cubicBezTo>
                <a:cubicBezTo>
                  <a:pt x="746495" y="705721"/>
                  <a:pt x="739048" y="716836"/>
                  <a:pt x="727933" y="728008"/>
                </a:cubicBezTo>
                <a:cubicBezTo>
                  <a:pt x="716818" y="739123"/>
                  <a:pt x="705704" y="746515"/>
                  <a:pt x="690865" y="752073"/>
                </a:cubicBezTo>
                <a:cubicBezTo>
                  <a:pt x="677917" y="755797"/>
                  <a:pt x="661189" y="761355"/>
                  <a:pt x="629678" y="763189"/>
                </a:cubicBezTo>
                <a:cubicBezTo>
                  <a:pt x="594500" y="765078"/>
                  <a:pt x="583330" y="765078"/>
                  <a:pt x="496245" y="765078"/>
                </a:cubicBezTo>
                <a:cubicBezTo>
                  <a:pt x="407271" y="765078"/>
                  <a:pt x="397990" y="765078"/>
                  <a:pt x="362756" y="763189"/>
                </a:cubicBezTo>
                <a:cubicBezTo>
                  <a:pt x="331246" y="761355"/>
                  <a:pt x="312684" y="755797"/>
                  <a:pt x="301569" y="752073"/>
                </a:cubicBezTo>
                <a:cubicBezTo>
                  <a:pt x="286731" y="746515"/>
                  <a:pt x="275616" y="739123"/>
                  <a:pt x="262668" y="728008"/>
                </a:cubicBezTo>
                <a:cubicBezTo>
                  <a:pt x="251553" y="715002"/>
                  <a:pt x="244106" y="703886"/>
                  <a:pt x="238548" y="689047"/>
                </a:cubicBezTo>
                <a:cubicBezTo>
                  <a:pt x="234825" y="677931"/>
                  <a:pt x="229268" y="661258"/>
                  <a:pt x="227434" y="627855"/>
                </a:cubicBezTo>
                <a:cubicBezTo>
                  <a:pt x="225600" y="594508"/>
                  <a:pt x="225600" y="583392"/>
                  <a:pt x="225600" y="494411"/>
                </a:cubicBezTo>
                <a:cubicBezTo>
                  <a:pt x="225600" y="407264"/>
                  <a:pt x="225600" y="396148"/>
                  <a:pt x="227434" y="362746"/>
                </a:cubicBezTo>
                <a:cubicBezTo>
                  <a:pt x="229268" y="329399"/>
                  <a:pt x="234825" y="312725"/>
                  <a:pt x="238548" y="301554"/>
                </a:cubicBezTo>
                <a:cubicBezTo>
                  <a:pt x="244106" y="284880"/>
                  <a:pt x="251553" y="273764"/>
                  <a:pt x="262668" y="262648"/>
                </a:cubicBezTo>
                <a:cubicBezTo>
                  <a:pt x="275616" y="251533"/>
                  <a:pt x="286731" y="244085"/>
                  <a:pt x="301569" y="238527"/>
                </a:cubicBezTo>
                <a:cubicBezTo>
                  <a:pt x="312684" y="234859"/>
                  <a:pt x="331246" y="229301"/>
                  <a:pt x="362756" y="227412"/>
                </a:cubicBezTo>
                <a:cubicBezTo>
                  <a:pt x="397990" y="225578"/>
                  <a:pt x="407271" y="225578"/>
                  <a:pt x="496245" y="225578"/>
                </a:cubicBezTo>
                <a:close/>
                <a:moveTo>
                  <a:pt x="496245" y="166220"/>
                </a:moveTo>
                <a:cubicBezTo>
                  <a:pt x="407271" y="166220"/>
                  <a:pt x="394267" y="166220"/>
                  <a:pt x="360922" y="168109"/>
                </a:cubicBezTo>
                <a:cubicBezTo>
                  <a:pt x="325688" y="169944"/>
                  <a:pt x="301569" y="175501"/>
                  <a:pt x="279340" y="182949"/>
                </a:cubicBezTo>
                <a:cubicBezTo>
                  <a:pt x="258944" y="192175"/>
                  <a:pt x="240382" y="203346"/>
                  <a:pt x="221876" y="221854"/>
                </a:cubicBezTo>
                <a:cubicBezTo>
                  <a:pt x="203315" y="240417"/>
                  <a:pt x="192200" y="257091"/>
                  <a:pt x="182919" y="279322"/>
                </a:cubicBezTo>
                <a:cubicBezTo>
                  <a:pt x="175528" y="299720"/>
                  <a:pt x="169970" y="323841"/>
                  <a:pt x="168081" y="359078"/>
                </a:cubicBezTo>
                <a:cubicBezTo>
                  <a:pt x="166247" y="394259"/>
                  <a:pt x="166247" y="405374"/>
                  <a:pt x="166247" y="496245"/>
                </a:cubicBezTo>
                <a:cubicBezTo>
                  <a:pt x="166247" y="585226"/>
                  <a:pt x="166247" y="596342"/>
                  <a:pt x="168081" y="631579"/>
                </a:cubicBezTo>
                <a:cubicBezTo>
                  <a:pt x="169970" y="666816"/>
                  <a:pt x="175528" y="690881"/>
                  <a:pt x="182919" y="711278"/>
                </a:cubicBezTo>
                <a:cubicBezTo>
                  <a:pt x="192200" y="733565"/>
                  <a:pt x="203315" y="752073"/>
                  <a:pt x="221876" y="768747"/>
                </a:cubicBezTo>
                <a:cubicBezTo>
                  <a:pt x="240382" y="787310"/>
                  <a:pt x="258944" y="798425"/>
                  <a:pt x="279340" y="807707"/>
                </a:cubicBezTo>
                <a:cubicBezTo>
                  <a:pt x="301569" y="815099"/>
                  <a:pt x="325688" y="820657"/>
                  <a:pt x="360922" y="822547"/>
                </a:cubicBezTo>
                <a:cubicBezTo>
                  <a:pt x="394267" y="824381"/>
                  <a:pt x="407271" y="824381"/>
                  <a:pt x="496245" y="824381"/>
                </a:cubicBezTo>
                <a:cubicBezTo>
                  <a:pt x="585219" y="824381"/>
                  <a:pt x="596334" y="824381"/>
                  <a:pt x="631568" y="822547"/>
                </a:cubicBezTo>
                <a:cubicBezTo>
                  <a:pt x="666802" y="820657"/>
                  <a:pt x="690865" y="815099"/>
                  <a:pt x="711261" y="807707"/>
                </a:cubicBezTo>
                <a:cubicBezTo>
                  <a:pt x="733491" y="798425"/>
                  <a:pt x="752052" y="787310"/>
                  <a:pt x="770614" y="768747"/>
                </a:cubicBezTo>
                <a:cubicBezTo>
                  <a:pt x="789120" y="750239"/>
                  <a:pt x="800235" y="733565"/>
                  <a:pt x="807682" y="711278"/>
                </a:cubicBezTo>
                <a:cubicBezTo>
                  <a:pt x="816907" y="690881"/>
                  <a:pt x="820631" y="666816"/>
                  <a:pt x="822520" y="631579"/>
                </a:cubicBezTo>
                <a:cubicBezTo>
                  <a:pt x="824354" y="596342"/>
                  <a:pt x="824354" y="585226"/>
                  <a:pt x="824354" y="496245"/>
                </a:cubicBezTo>
                <a:cubicBezTo>
                  <a:pt x="824354" y="405374"/>
                  <a:pt x="824354" y="394259"/>
                  <a:pt x="822520" y="359078"/>
                </a:cubicBezTo>
                <a:cubicBezTo>
                  <a:pt x="822520" y="323841"/>
                  <a:pt x="816907" y="299720"/>
                  <a:pt x="807682" y="279322"/>
                </a:cubicBezTo>
                <a:cubicBezTo>
                  <a:pt x="800235" y="258925"/>
                  <a:pt x="787286" y="238527"/>
                  <a:pt x="770614" y="221854"/>
                </a:cubicBezTo>
                <a:cubicBezTo>
                  <a:pt x="752052" y="203346"/>
                  <a:pt x="733491" y="192175"/>
                  <a:pt x="711261" y="182949"/>
                </a:cubicBezTo>
                <a:cubicBezTo>
                  <a:pt x="690865" y="175501"/>
                  <a:pt x="666802" y="169944"/>
                  <a:pt x="631568" y="168109"/>
                </a:cubicBezTo>
                <a:cubicBezTo>
                  <a:pt x="596334" y="166220"/>
                  <a:pt x="585219" y="166220"/>
                  <a:pt x="496245" y="166220"/>
                </a:cubicBezTo>
                <a:close/>
                <a:moveTo>
                  <a:pt x="165103" y="0"/>
                </a:moveTo>
                <a:lnTo>
                  <a:pt x="825497" y="0"/>
                </a:lnTo>
                <a:cubicBezTo>
                  <a:pt x="916681" y="0"/>
                  <a:pt x="990600" y="73919"/>
                  <a:pt x="990600" y="165103"/>
                </a:cubicBezTo>
                <a:lnTo>
                  <a:pt x="990600" y="825497"/>
                </a:lnTo>
                <a:cubicBezTo>
                  <a:pt x="990600" y="916681"/>
                  <a:pt x="916681" y="990600"/>
                  <a:pt x="825497" y="990600"/>
                </a:cubicBezTo>
                <a:lnTo>
                  <a:pt x="165103" y="990600"/>
                </a:lnTo>
                <a:cubicBezTo>
                  <a:pt x="73919" y="990600"/>
                  <a:pt x="0" y="916681"/>
                  <a:pt x="0" y="825497"/>
                </a:cubicBezTo>
                <a:lnTo>
                  <a:pt x="0" y="165103"/>
                </a:lnTo>
                <a:cubicBezTo>
                  <a:pt x="0" y="73919"/>
                  <a:pt x="73919" y="0"/>
                  <a:pt x="165103" y="0"/>
                </a:cubicBezTo>
                <a:close/>
              </a:path>
            </a:pathLst>
          </a:custGeom>
          <a:solidFill>
            <a:srgbClr val="33703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5" name="Picture 4" descr="A qr code with a logo">
            <a:extLst>
              <a:ext uri="{FF2B5EF4-FFF2-40B4-BE49-F238E27FC236}">
                <a16:creationId xmlns:a16="http://schemas.microsoft.com/office/drawing/2014/main" id="{21655396-FD85-4D07-6790-2A88529787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21749" y="4403366"/>
            <a:ext cx="2190002" cy="2190002"/>
          </a:xfrm>
          <a:prstGeom prst="rect">
            <a:avLst/>
          </a:prstGeom>
        </p:spPr>
      </p:pic>
      <p:sp>
        <p:nvSpPr>
          <p:cNvPr id="2" name="Google Shape;794;p39">
            <a:extLst>
              <a:ext uri="{FF2B5EF4-FFF2-40B4-BE49-F238E27FC236}">
                <a16:creationId xmlns:a16="http://schemas.microsoft.com/office/drawing/2014/main" id="{69025728-C6A5-34A5-8B0B-E722C5C3812A}"/>
              </a:ext>
            </a:extLst>
          </p:cNvPr>
          <p:cNvSpPr txBox="1">
            <a:spLocks/>
          </p:cNvSpPr>
          <p:nvPr/>
        </p:nvSpPr>
        <p:spPr>
          <a:xfrm>
            <a:off x="5399728" y="3093600"/>
            <a:ext cx="6451784" cy="1341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1pPr>
            <a:lvl2pPr marL="914400" marR="0" lvl="1"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2pPr>
            <a:lvl3pPr marL="1371600" marR="0" lvl="2"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3pPr>
            <a:lvl4pPr marL="1828800" marR="0" lvl="3"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4pPr>
            <a:lvl5pPr marL="2286000" marR="0" lvl="4"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5pPr>
            <a:lvl6pPr marL="2743200" marR="0" lvl="5"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6pPr>
            <a:lvl7pPr marL="3200400" marR="0" lvl="6"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7pPr>
            <a:lvl8pPr marL="3657600" marR="0" lvl="7"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8pPr>
            <a:lvl9pPr marL="4114800" marR="0" lvl="8" indent="-368300" algn="l" rtl="0">
              <a:lnSpc>
                <a:spcPct val="100000"/>
              </a:lnSpc>
              <a:spcBef>
                <a:spcPts val="0"/>
              </a:spcBef>
              <a:spcAft>
                <a:spcPts val="0"/>
              </a:spcAft>
              <a:buClr>
                <a:schemeClr val="lt1"/>
              </a:buClr>
              <a:buSzPts val="2200"/>
              <a:buFont typeface="Archivo"/>
              <a:buChar char="■"/>
              <a:defRPr sz="2200" b="0" i="0" u="none" strike="noStrike" cap="none">
                <a:solidFill>
                  <a:schemeClr val="lt1"/>
                </a:solidFill>
                <a:latin typeface="Archivo"/>
                <a:ea typeface="Archivo"/>
                <a:cs typeface="Archivo"/>
                <a:sym typeface="Archivo"/>
              </a:defRPr>
            </a:lvl9pPr>
          </a:lstStyle>
          <a:p>
            <a:pPr marL="0" indent="0">
              <a:buFont typeface="Archivo"/>
              <a:buNone/>
            </a:pPr>
            <a:r>
              <a:rPr lang="en-US" sz="2100" kern="0" dirty="0">
                <a:latin typeface="Trade Gothic Next HvyCd" panose="020B0906040303020004" pitchFamily="34" charset="0"/>
              </a:rPr>
              <a:t>Do you have any questions?</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background with white text&#10;&#10;Description automatically generated">
            <a:extLst>
              <a:ext uri="{FF2B5EF4-FFF2-40B4-BE49-F238E27FC236}">
                <a16:creationId xmlns:a16="http://schemas.microsoft.com/office/drawing/2014/main" id="{ECDE604B-76AC-163E-6973-D5AEEB2F57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4800" y="2407953"/>
            <a:ext cx="3962400" cy="2042094"/>
          </a:xfrm>
          <a:prstGeom prst="rect">
            <a:avLst/>
          </a:prstGeom>
        </p:spPr>
      </p:pic>
    </p:spTree>
    <p:extLst>
      <p:ext uri="{BB962C8B-B14F-4D97-AF65-F5344CB8AC3E}">
        <p14:creationId xmlns:p14="http://schemas.microsoft.com/office/powerpoint/2010/main" val="1234957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3000" r="-3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map of united kingdom with different colored states&#10;&#10;Description automatically generated">
            <a:extLst>
              <a:ext uri="{FF2B5EF4-FFF2-40B4-BE49-F238E27FC236}">
                <a16:creationId xmlns:a16="http://schemas.microsoft.com/office/drawing/2014/main" id="{F313655B-E3CF-8476-1B3C-2C57A7F4DD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36780" y="1776555"/>
            <a:ext cx="3422468" cy="4140082"/>
          </a:xfrm>
          <a:prstGeom prst="rect">
            <a:avLst/>
          </a:prstGeom>
        </p:spPr>
      </p:pic>
      <p:pic>
        <p:nvPicPr>
          <p:cNvPr id="9" name="Picture 2" descr="RGU Opportunities – ASA">
            <a:extLst>
              <a:ext uri="{FF2B5EF4-FFF2-40B4-BE49-F238E27FC236}">
                <a16:creationId xmlns:a16="http://schemas.microsoft.com/office/drawing/2014/main" id="{5F339662-E111-9F77-900F-7022F66194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30701" y="3652945"/>
            <a:ext cx="2142754" cy="214275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Picture 6" descr="MSc Data Science - YouTube">
            <a:extLst>
              <a:ext uri="{FF2B5EF4-FFF2-40B4-BE49-F238E27FC236}">
                <a16:creationId xmlns:a16="http://schemas.microsoft.com/office/drawing/2014/main" id="{A3A52371-5144-2E37-42F4-1725868652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30701" y="2324157"/>
            <a:ext cx="2037608" cy="114106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230" name="Picture 14">
            <a:extLst>
              <a:ext uri="{FF2B5EF4-FFF2-40B4-BE49-F238E27FC236}">
                <a16:creationId xmlns:a16="http://schemas.microsoft.com/office/drawing/2014/main" id="{A332F20D-4BAB-DE38-6BB5-B316DF4C4BFE}"/>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00339" y="-296664"/>
            <a:ext cx="3427634" cy="37018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black background with white text&#10;&#10;Description automatically generated">
            <a:extLst>
              <a:ext uri="{FF2B5EF4-FFF2-40B4-BE49-F238E27FC236}">
                <a16:creationId xmlns:a16="http://schemas.microsoft.com/office/drawing/2014/main" id="{B079E301-73EE-2F5C-7A4C-FBCB7F614FD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350244" y="5935067"/>
            <a:ext cx="1841756" cy="949182"/>
          </a:xfrm>
          <a:prstGeom prst="rect">
            <a:avLst/>
          </a:prstGeom>
        </p:spPr>
      </p:pic>
      <p:pic>
        <p:nvPicPr>
          <p:cNvPr id="1026" name="Picture 2" descr="Arsenal F.C. - Wikipedia">
            <a:extLst>
              <a:ext uri="{FF2B5EF4-FFF2-40B4-BE49-F238E27FC236}">
                <a16:creationId xmlns:a16="http://schemas.microsoft.com/office/drawing/2014/main" id="{28D35BF4-6E75-5260-FE3B-7CC8D4F721D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878046" y="244112"/>
            <a:ext cx="1610660" cy="189231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ack background with white text&#10;&#10;Description automatically generated">
            <a:extLst>
              <a:ext uri="{FF2B5EF4-FFF2-40B4-BE49-F238E27FC236}">
                <a16:creationId xmlns:a16="http://schemas.microsoft.com/office/drawing/2014/main" id="{6FF18346-7DD7-0635-B701-35D2CF3BA35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23261" y="2825291"/>
            <a:ext cx="3561759" cy="1835617"/>
          </a:xfrm>
          <a:prstGeom prst="rect">
            <a:avLst/>
          </a:prstGeom>
        </p:spPr>
      </p:pic>
    </p:spTree>
    <p:extLst>
      <p:ext uri="{BB962C8B-B14F-4D97-AF65-F5344CB8AC3E}">
        <p14:creationId xmlns:p14="http://schemas.microsoft.com/office/powerpoint/2010/main" val="3097604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30"/>
                                        </p:tgtEl>
                                        <p:attrNameLst>
                                          <p:attrName>style.visibility</p:attrName>
                                        </p:attrNameLst>
                                      </p:cBhvr>
                                      <p:to>
                                        <p:strVal val="visible"/>
                                      </p:to>
                                    </p:set>
                                    <p:animEffect transition="in" filter="fade">
                                      <p:cBhvr>
                                        <p:cTn id="7" dur="500"/>
                                        <p:tgtEl>
                                          <p:spTgt spid="92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500"/>
                                        <p:tgtEl>
                                          <p:spTgt spid="10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0BA3E84-8DD9-6118-DD18-78B5DEB99B9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EBEDA2-51E6-554C-A63C-E820F6D0080D}" type="slidenum">
              <a:rPr kumimoji="0" lang="es-ES" sz="1000" b="0" i="0" u="none" strike="noStrike" kern="1200" cap="none" spc="0" normalizeH="0" baseline="0" noProof="0" smtClean="0">
                <a:ln>
                  <a:noFill/>
                </a:ln>
                <a:solidFill>
                  <a:srgbClr val="586179">
                    <a:lumMod val="60000"/>
                    <a:lumOff val="40000"/>
                  </a:srgbClr>
                </a:solidFill>
                <a:effectLst/>
                <a:uLnTx/>
                <a:uFillTx/>
                <a:latin typeface="Telefonic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ES" sz="1000" b="0" i="0" u="none" strike="noStrike" kern="1200" cap="none" spc="0" normalizeH="0" baseline="0" noProof="0">
              <a:ln>
                <a:noFill/>
              </a:ln>
              <a:solidFill>
                <a:srgbClr val="586179">
                  <a:lumMod val="60000"/>
                  <a:lumOff val="40000"/>
                </a:srgbClr>
              </a:solidFill>
              <a:effectLst/>
              <a:uLnTx/>
              <a:uFillTx/>
              <a:latin typeface="Telefonica Sans"/>
              <a:ea typeface="+mn-ea"/>
              <a:cs typeface="+mn-cs"/>
            </a:endParaRPr>
          </a:p>
        </p:txBody>
      </p:sp>
      <p:pic>
        <p:nvPicPr>
          <p:cNvPr id="3082" name="Picture 10" descr="Black History Month guide: Exhibits, tours and events around the Triangle">
            <a:extLst>
              <a:ext uri="{FF2B5EF4-FFF2-40B4-BE49-F238E27FC236}">
                <a16:creationId xmlns:a16="http://schemas.microsoft.com/office/drawing/2014/main" id="{AAB667F2-2EF5-AD44-A702-7B3A1A61B8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111" r="8597" b="-1"/>
          <a:stretch/>
        </p:blipFill>
        <p:spPr bwMode="auto">
          <a:xfrm>
            <a:off x="2" y="-76200"/>
            <a:ext cx="12191998" cy="69342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ack background with white text&#10;&#10;Description automatically generated">
            <a:extLst>
              <a:ext uri="{FF2B5EF4-FFF2-40B4-BE49-F238E27FC236}">
                <a16:creationId xmlns:a16="http://schemas.microsoft.com/office/drawing/2014/main" id="{ECB0F733-1334-F5DB-C899-51560FC2938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35235979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2"/>
        <p:cNvGrpSpPr/>
        <p:nvPr/>
      </p:nvGrpSpPr>
      <p:grpSpPr>
        <a:xfrm>
          <a:off x="0" y="0"/>
          <a:ext cx="0" cy="0"/>
          <a:chOff x="0" y="0"/>
          <a:chExt cx="0" cy="0"/>
        </a:xfrm>
      </p:grpSpPr>
      <p:sp>
        <p:nvSpPr>
          <p:cNvPr id="503" name="Google Shape;503;p32"/>
          <p:cNvSpPr txBox="1">
            <a:spLocks noGrp="1"/>
          </p:cNvSpPr>
          <p:nvPr>
            <p:ph type="title"/>
          </p:nvPr>
        </p:nvSpPr>
        <p:spPr>
          <a:xfrm>
            <a:off x="3902652" y="3883173"/>
            <a:ext cx="7494900" cy="2181000"/>
          </a:xfrm>
          <a:prstGeom prst="rect">
            <a:avLst/>
          </a:prstGeom>
        </p:spPr>
        <p:txBody>
          <a:bodyPr spcFirstLastPara="1" wrap="square" lIns="121900" tIns="121900" rIns="121900" bIns="121900" anchor="b" anchorCtr="0">
            <a:noAutofit/>
          </a:bodyPr>
          <a:lstStyle/>
          <a:p>
            <a:pPr marL="0" lvl="0" indent="0" algn="r" rtl="0">
              <a:spcBef>
                <a:spcPts val="0"/>
              </a:spcBef>
              <a:spcAft>
                <a:spcPts val="0"/>
              </a:spcAft>
              <a:buNone/>
            </a:pPr>
            <a:r>
              <a:rPr lang="en" sz="12000" dirty="0">
                <a:latin typeface="Trade Gothic Next HvyCd" panose="020B0906040303020004" pitchFamily="34" charset="0"/>
              </a:rPr>
              <a:t>Black History Trivia</a:t>
            </a:r>
            <a:endParaRPr sz="12000" dirty="0">
              <a:latin typeface="Trade Gothic Next HvyCd" panose="020B0906040303020004" pitchFamily="34" charset="0"/>
            </a:endParaRPr>
          </a:p>
        </p:txBody>
      </p:sp>
      <p:pic>
        <p:nvPicPr>
          <p:cNvPr id="5" name="Picture 4" descr="A black background with white text&#10;&#10;Description automatically generated">
            <a:extLst>
              <a:ext uri="{FF2B5EF4-FFF2-40B4-BE49-F238E27FC236}">
                <a16:creationId xmlns:a16="http://schemas.microsoft.com/office/drawing/2014/main" id="{4F72EAD4-31F1-3D4E-5390-AF4702434C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A black background with white text&#10;&#10;Description automatically generated">
            <a:extLst>
              <a:ext uri="{FF2B5EF4-FFF2-40B4-BE49-F238E27FC236}">
                <a16:creationId xmlns:a16="http://schemas.microsoft.com/office/drawing/2014/main" id="{CA11C663-86D1-8E2A-8376-A4E55F2D99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3322"/>
            <a:ext cx="1841756" cy="949182"/>
          </a:xfrm>
          <a:prstGeom prst="rect">
            <a:avLst/>
          </a:prstGeom>
        </p:spPr>
      </p:pic>
    </p:spTree>
    <p:extLst>
      <p:ext uri="{BB962C8B-B14F-4D97-AF65-F5344CB8AC3E}">
        <p14:creationId xmlns:p14="http://schemas.microsoft.com/office/powerpoint/2010/main" val="1217558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251573F8-8728-14C7-1430-ED7838343B2C}"/>
              </a:ext>
            </a:extLst>
          </p:cNvPr>
          <p:cNvSpPr>
            <a:spLocks noGrp="1"/>
          </p:cNvSpPr>
          <p:nvPr>
            <p:ph type="title"/>
          </p:nvPr>
        </p:nvSpPr>
        <p:spPr>
          <a:xfrm>
            <a:off x="389241" y="552592"/>
            <a:ext cx="11259303" cy="800944"/>
          </a:xfrm>
        </p:spPr>
        <p:txBody>
          <a:bodyPr/>
          <a:lstStyle/>
          <a:p>
            <a:r>
              <a:rPr lang="en-GB"/>
              <a:t>Black History Month</a:t>
            </a:r>
          </a:p>
        </p:txBody>
      </p:sp>
      <p:sp>
        <p:nvSpPr>
          <p:cNvPr id="19" name="Text Placeholder 3">
            <a:extLst>
              <a:ext uri="{FF2B5EF4-FFF2-40B4-BE49-F238E27FC236}">
                <a16:creationId xmlns:a16="http://schemas.microsoft.com/office/drawing/2014/main" id="{90C75131-55EC-3356-A5B1-7CE11AEA9E0C}"/>
              </a:ext>
            </a:extLst>
          </p:cNvPr>
          <p:cNvSpPr txBox="1">
            <a:spLocks/>
          </p:cNvSpPr>
          <p:nvPr/>
        </p:nvSpPr>
        <p:spPr>
          <a:xfrm>
            <a:off x="426198" y="302112"/>
            <a:ext cx="11251682" cy="198438"/>
          </a:xfrm>
          <a:prstGeom prst="rect">
            <a:avLst/>
          </a:prstGeom>
        </p:spPr>
        <p:txBody>
          <a:bodyPr vert="horz" lIns="91440" tIns="45720" rIns="91440" bIns="45720" numCol="1" rtlCol="0" anchor="t">
            <a:noAutofit/>
          </a:bodyPr>
          <a:lstStyle>
            <a:lvl1pPr marL="0" indent="0" algn="l" defTabSz="914400" rtl="0" eaLnBrk="1" latinLnBrk="0" hangingPunct="1">
              <a:lnSpc>
                <a:spcPct val="90000"/>
              </a:lnSpc>
              <a:spcBef>
                <a:spcPts val="1000"/>
              </a:spcBef>
              <a:buFontTx/>
              <a:buNone/>
              <a:defRPr sz="1300" b="1" kern="1200" cap="all"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1300" b="1" i="0" u="none" strike="noStrike" kern="1200" cap="all" spc="0" normalizeH="0" baseline="0" noProof="0">
                <a:ln>
                  <a:noFill/>
                </a:ln>
                <a:solidFill>
                  <a:srgbClr val="586179"/>
                </a:solidFill>
                <a:effectLst/>
                <a:uLnTx/>
                <a:uFillTx/>
                <a:latin typeface="Telefonica Sans"/>
                <a:ea typeface="+mn-ea"/>
                <a:cs typeface="+mn-cs"/>
              </a:rPr>
              <a:t>Notes on a page</a:t>
            </a:r>
          </a:p>
        </p:txBody>
      </p:sp>
      <p:pic>
        <p:nvPicPr>
          <p:cNvPr id="6" name="Picture 5">
            <a:extLst>
              <a:ext uri="{FF2B5EF4-FFF2-40B4-BE49-F238E27FC236}">
                <a16:creationId xmlns:a16="http://schemas.microsoft.com/office/drawing/2014/main" id="{E00986DF-3ADC-AC81-0DD7-505C3E8BC476}"/>
              </a:ext>
            </a:extLst>
          </p:cNvPr>
          <p:cNvPicPr>
            <a:picLocks noChangeAspect="1"/>
          </p:cNvPicPr>
          <p:nvPr/>
        </p:nvPicPr>
        <p:blipFill rotWithShape="1">
          <a:blip r:embed="rId6"/>
          <a:srcRect l="4600" t="299" r="4600" b="4523"/>
          <a:stretch/>
        </p:blipFill>
        <p:spPr>
          <a:xfrm>
            <a:off x="0" y="0"/>
            <a:ext cx="12192000" cy="6858000"/>
          </a:xfrm>
          <a:prstGeom prst="rect">
            <a:avLst/>
          </a:prstGeom>
        </p:spPr>
      </p:pic>
      <p:pic>
        <p:nvPicPr>
          <p:cNvPr id="11266" name="Picture 2" descr="Distinguished figures to be honoured at the 2022 winter graduation  ceremonies | SOAS">
            <a:extLst>
              <a:ext uri="{FF2B5EF4-FFF2-40B4-BE49-F238E27FC236}">
                <a16:creationId xmlns:a16="http://schemas.microsoft.com/office/drawing/2014/main" id="{F9482A0E-2021-E34B-C01F-7195498F93F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933" t="7891" r="10000" b="31889"/>
          <a:stretch/>
        </p:blipFill>
        <p:spPr bwMode="auto">
          <a:xfrm>
            <a:off x="8467357" y="401331"/>
            <a:ext cx="3210523" cy="3176710"/>
          </a:xfrm>
          <a:prstGeom prst="ellipse">
            <a:avLst/>
          </a:prstGeom>
          <a:ln>
            <a:noFill/>
          </a:ln>
          <a:effectLst/>
          <a:extLst>
            <a:ext uri="{909E8E84-426E-40DD-AFC4-6F175D3DCCD1}">
              <a14:hiddenFill xmlns:a14="http://schemas.microsoft.com/office/drawing/2010/main">
                <a:solidFill>
                  <a:srgbClr val="FFFFFF"/>
                </a:solidFill>
              </a14:hiddenFill>
            </a:ext>
          </a:extLst>
        </p:spPr>
      </p:pic>
      <p:pic>
        <p:nvPicPr>
          <p:cNvPr id="3" name="Picture 2" descr="A black background with white text&#10;&#10;Description automatically generated">
            <a:extLst>
              <a:ext uri="{FF2B5EF4-FFF2-40B4-BE49-F238E27FC236}">
                <a16:creationId xmlns:a16="http://schemas.microsoft.com/office/drawing/2014/main" id="{56C78ED4-49ED-DFF7-4B67-83DAA9C76A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50244" y="5898102"/>
            <a:ext cx="1841756" cy="949182"/>
          </a:xfrm>
          <a:prstGeom prst="rect">
            <a:avLst/>
          </a:prstGeom>
        </p:spPr>
      </p:pic>
    </p:spTree>
    <p:extLst>
      <p:ext uri="{BB962C8B-B14F-4D97-AF65-F5344CB8AC3E}">
        <p14:creationId xmlns:p14="http://schemas.microsoft.com/office/powerpoint/2010/main" val="2004192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5000" b="-5000"/>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B88AD8-B33A-C80D-D835-02645F4431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84B88AD8-B33A-C80D-D835-02645F443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A black background with white text&#10;&#10;Description automatically generated">
            <a:extLst>
              <a:ext uri="{FF2B5EF4-FFF2-40B4-BE49-F238E27FC236}">
                <a16:creationId xmlns:a16="http://schemas.microsoft.com/office/drawing/2014/main" id="{2433E587-AA4A-F86B-D717-C65EC6D3B1E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0244" y="5908818"/>
            <a:ext cx="1841756" cy="949182"/>
          </a:xfrm>
          <a:prstGeom prst="rect">
            <a:avLst/>
          </a:prstGeom>
        </p:spPr>
      </p:pic>
    </p:spTree>
    <p:extLst>
      <p:ext uri="{BB962C8B-B14F-4D97-AF65-F5344CB8AC3E}">
        <p14:creationId xmlns:p14="http://schemas.microsoft.com/office/powerpoint/2010/main" val="338259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NTIMETER_SERIES_ID_KEY" val="aldn5h152rmmc66qy47vumgzcvpkbfo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Adatis_2019">
      <a:dk1>
        <a:srgbClr val="1F2E56"/>
      </a:dk1>
      <a:lt1>
        <a:srgbClr val="1169B2"/>
      </a:lt1>
      <a:dk2>
        <a:srgbClr val="FEFFFF"/>
      </a:dk2>
      <a:lt2>
        <a:srgbClr val="EAEAEA"/>
      </a:lt2>
      <a:accent1>
        <a:srgbClr val="1F2E56"/>
      </a:accent1>
      <a:accent2>
        <a:srgbClr val="1169B2"/>
      </a:accent2>
      <a:accent3>
        <a:srgbClr val="8ABD24"/>
      </a:accent3>
      <a:accent4>
        <a:srgbClr val="563065"/>
      </a:accent4>
      <a:accent5>
        <a:srgbClr val="F69F06"/>
      </a:accent5>
      <a:accent6>
        <a:srgbClr val="E63925"/>
      </a:accent6>
      <a:hlink>
        <a:srgbClr val="1169B2"/>
      </a:hlink>
      <a:folHlink>
        <a:srgbClr val="8ABD2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3C1F13A6-9497-C64F-BFD0-EB642E569496}" vid="{3A256D6D-25C9-E244-A9FF-3D91E75E2E77}"/>
    </a:ext>
  </a:extLst>
</a:theme>
</file>

<file path=ppt/theme/theme2.xml><?xml version="1.0" encoding="utf-8"?>
<a:theme xmlns:a="http://schemas.openxmlformats.org/drawingml/2006/main" name="Content">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Custom 2">
      <a:majorFont>
        <a:latin typeface="Telefonica Sans Light"/>
        <a:ea typeface=""/>
        <a:cs typeface=""/>
      </a:majorFont>
      <a:minorFont>
        <a:latin typeface="Telefonic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lefónica Tech PowerPoint Template - Blank" id="{705DE5D1-3C23-46BE-A0AA-4E5970226453}" vid="{034792AC-4B59-49FD-8DFD-9A6C83B5BDD6}"/>
    </a:ext>
  </a:extLst>
</a:theme>
</file>

<file path=ppt/theme/theme3.xml><?xml version="1.0" encoding="utf-8"?>
<a:theme xmlns:a="http://schemas.openxmlformats.org/drawingml/2006/main" name="SlidesMania">
  <a:themeElements>
    <a:clrScheme name="Simple Light">
      <a:dk1>
        <a:srgbClr val="000000"/>
      </a:dk1>
      <a:lt1>
        <a:srgbClr val="FFFFFF"/>
      </a:lt1>
      <a:dk2>
        <a:srgbClr val="434343"/>
      </a:dk2>
      <a:lt2>
        <a:srgbClr val="EEEEEE"/>
      </a:lt2>
      <a:accent1>
        <a:srgbClr val="BD0D0D"/>
      </a:accent1>
      <a:accent2>
        <a:srgbClr val="E9BD05"/>
      </a:accent2>
      <a:accent3>
        <a:srgbClr val="337033"/>
      </a:accent3>
      <a:accent4>
        <a:srgbClr val="FFFFFF"/>
      </a:accent4>
      <a:accent5>
        <a:srgbClr val="FFFFFF"/>
      </a:accent5>
      <a:accent6>
        <a:srgbClr val="FFFFF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ontent Slides">
  <a:themeElements>
    <a:clrScheme name="Adatis Brand Colours">
      <a:dk1>
        <a:srgbClr val="002F5B"/>
      </a:dk1>
      <a:lt1>
        <a:sysClr val="window" lastClr="FFFFFF"/>
      </a:lt1>
      <a:dk2>
        <a:srgbClr val="002F5B"/>
      </a:dk2>
      <a:lt2>
        <a:srgbClr val="E7E6E6"/>
      </a:lt2>
      <a:accent1>
        <a:srgbClr val="0A7562"/>
      </a:accent1>
      <a:accent2>
        <a:srgbClr val="F69F0D"/>
      </a:accent2>
      <a:accent3>
        <a:srgbClr val="146BB3"/>
      </a:accent3>
      <a:accent4>
        <a:srgbClr val="563165"/>
      </a:accent4>
      <a:accent5>
        <a:srgbClr val="8ABD24"/>
      </a:accent5>
      <a:accent6>
        <a:srgbClr val="E73926"/>
      </a:accent6>
      <a:hlink>
        <a:srgbClr val="F69F0D"/>
      </a:hlink>
      <a:folHlink>
        <a:srgbClr val="002F5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c8e460-b3ac-4c11-a25f-f0085f2f87cd">
      <Terms xmlns="http://schemas.microsoft.com/office/infopath/2007/PartnerControls"/>
    </lcf76f155ced4ddcb4097134ff3c332f>
    <TaxCatchAll xmlns="73d32f5c-bf82-46da-aec6-39a525654d16" xsi:nil="true"/>
    <Image xmlns="38c8e460-b3ac-4c11-a25f-f0085f2f87c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78C8BE6B7CA440B450240604BDBDEF" ma:contentTypeVersion="19" ma:contentTypeDescription="Create a new document." ma:contentTypeScope="" ma:versionID="2d5b8f815aabe57d6eb2dfd5c4dd1021">
  <xsd:schema xmlns:xsd="http://www.w3.org/2001/XMLSchema" xmlns:xs="http://www.w3.org/2001/XMLSchema" xmlns:p="http://schemas.microsoft.com/office/2006/metadata/properties" xmlns:ns2="38c8e460-b3ac-4c11-a25f-f0085f2f87cd" xmlns:ns3="73d32f5c-bf82-46da-aec6-39a525654d16" targetNamespace="http://schemas.microsoft.com/office/2006/metadata/properties" ma:root="true" ma:fieldsID="ee99f1352960c5d22f93038e94cac51a" ns2:_="" ns3:_="">
    <xsd:import namespace="38c8e460-b3ac-4c11-a25f-f0085f2f87cd"/>
    <xsd:import namespace="73d32f5c-bf82-46da-aec6-39a525654d16"/>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Imag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c8e460-b3ac-4c11-a25f-f0085f2f87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Image" ma:index="19" nillable="true" ma:displayName="Image" ma:format="Thumbnail" ma:internalName="Image">
      <xsd:simpleType>
        <xsd:restriction base="dms:Unknow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27eca85-fca2-4ee1-8484-e240e9d74a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3d32f5c-bf82-46da-aec6-39a525654d1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503dde1-3e08-4fda-924f-eb5b5f4a515c}" ma:internalName="TaxCatchAll" ma:showField="CatchAllData" ma:web="73d32f5c-bf82-46da-aec6-39a525654d1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40834F-BAB4-40DD-9F10-FF368A024B66}">
  <ds:schemaRefs>
    <ds:schemaRef ds:uri="http://schemas.microsoft.com/office/infopath/2007/PartnerControls"/>
    <ds:schemaRef ds:uri="http://purl.org/dc/dcmitype/"/>
    <ds:schemaRef ds:uri="http://purl.org/dc/terms/"/>
    <ds:schemaRef ds:uri="http://schemas.microsoft.com/office/2006/metadata/properties"/>
    <ds:schemaRef ds:uri="http://purl.org/dc/elements/1.1/"/>
    <ds:schemaRef ds:uri="http://www.w3.org/XML/1998/namespace"/>
    <ds:schemaRef ds:uri="8ec32435-9101-4c97-8a3c-ccfc4b09d27a"/>
    <ds:schemaRef ds:uri="http://schemas.microsoft.com/office/2006/documentManagement/types"/>
    <ds:schemaRef ds:uri="http://schemas.openxmlformats.org/package/2006/metadata/core-properties"/>
    <ds:schemaRef ds:uri="b8fcd98d-34a5-443c-9231-e77d014cc831"/>
    <ds:schemaRef ds:uri="38c8e460-b3ac-4c11-a25f-f0085f2f87cd"/>
    <ds:schemaRef ds:uri="73d32f5c-bf82-46da-aec6-39a525654d16"/>
  </ds:schemaRefs>
</ds:datastoreItem>
</file>

<file path=customXml/itemProps2.xml><?xml version="1.0" encoding="utf-8"?>
<ds:datastoreItem xmlns:ds="http://schemas.openxmlformats.org/officeDocument/2006/customXml" ds:itemID="{902A4FAF-AF17-4AD0-BB21-F1656A0111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c8e460-b3ac-4c11-a25f-f0085f2f87cd"/>
    <ds:schemaRef ds:uri="73d32f5c-bf82-46da-aec6-39a525654d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6E0C062-2476-458A-B31E-F2292F44B51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460</Words>
  <Application>Microsoft Office PowerPoint</Application>
  <PresentationFormat>Widescreen</PresentationFormat>
  <Paragraphs>311</Paragraphs>
  <Slides>35</Slides>
  <Notes>34</Notes>
  <HiddenSlides>0</HiddenSlides>
  <MMClips>0</MMClips>
  <ScaleCrop>false</ScaleCrop>
  <HeadingPairs>
    <vt:vector size="8" baseType="variant">
      <vt:variant>
        <vt:lpstr>Fonts Used</vt:lpstr>
      </vt:variant>
      <vt:variant>
        <vt:i4>23</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63" baseType="lpstr">
      <vt:lpstr>__fkGroteskNeue_532e43</vt:lpstr>
      <vt:lpstr>Abril Fatface</vt:lpstr>
      <vt:lpstr>Aldrich</vt:lpstr>
      <vt:lpstr>Anton</vt:lpstr>
      <vt:lpstr>Archivo</vt:lpstr>
      <vt:lpstr>Arial</vt:lpstr>
      <vt:lpstr>Arial</vt:lpstr>
      <vt:lpstr>avenir-lt-w01_35-light1475496</vt:lpstr>
      <vt:lpstr>Barlow Condensed</vt:lpstr>
      <vt:lpstr>Calibri</vt:lpstr>
      <vt:lpstr>fredoka one</vt:lpstr>
      <vt:lpstr>Google Sans</vt:lpstr>
      <vt:lpstr>Griffy</vt:lpstr>
      <vt:lpstr>Homemade Apple</vt:lpstr>
      <vt:lpstr>Poppins</vt:lpstr>
      <vt:lpstr>Roboto</vt:lpstr>
      <vt:lpstr>Söhne</vt:lpstr>
      <vt:lpstr>Telefonica Sans</vt:lpstr>
      <vt:lpstr>Telefonica Sans Light</vt:lpstr>
      <vt:lpstr>Trade Gothic Next Heavy</vt:lpstr>
      <vt:lpstr>Trade Gothic Next HvyCd</vt:lpstr>
      <vt:lpstr>Ubuntu</vt:lpstr>
      <vt:lpstr>Wingdings</vt:lpstr>
      <vt:lpstr>2_Office Theme</vt:lpstr>
      <vt:lpstr>Content</vt:lpstr>
      <vt:lpstr>SlidesMania</vt:lpstr>
      <vt:lpstr>Content Slides</vt:lpstr>
      <vt:lpstr>think-cell Slide</vt:lpstr>
      <vt:lpstr>PowerPoint Presentation</vt:lpstr>
      <vt:lpstr>PowerPoint Presentation</vt:lpstr>
      <vt:lpstr>PowerPoint Presentation</vt:lpstr>
      <vt:lpstr>PowerPoint Presentation</vt:lpstr>
      <vt:lpstr>PowerPoint Presentation</vt:lpstr>
      <vt:lpstr>Black History Trivia</vt:lpstr>
      <vt:lpstr>PowerPoint Presentation</vt:lpstr>
      <vt:lpstr>Black History Mont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coming Challenges</vt:lpstr>
      <vt:lpstr>PowerPoint Presentation</vt:lpstr>
      <vt:lpstr>PowerPoint Presentation</vt:lpstr>
      <vt:lpstr>“I have a dream that my four little children will one day live in a nation where they will not be judged by the color of their skin, but by the content of their character…”</vt:lpstr>
      <vt:lpstr>PowerPoint Presentation</vt:lpstr>
      <vt:lpstr>PowerPoint Presentation</vt:lpstr>
      <vt:lpstr>How we can all help</vt:lpstr>
      <vt:lpstr>  </vt:lpstr>
      <vt:lpstr>PowerPoint Presentation</vt:lpstr>
      <vt:lpstr>Thank you for listen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nna Bavin</dc:creator>
  <cp:lastModifiedBy>Bim Adeniran</cp:lastModifiedBy>
  <cp:revision>38</cp:revision>
  <dcterms:created xsi:type="dcterms:W3CDTF">2022-05-27T10:22:26Z</dcterms:created>
  <dcterms:modified xsi:type="dcterms:W3CDTF">2024-03-13T09:2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278C8BE6B7CA440B450240604BDBDEF</vt:lpwstr>
  </property>
</Properties>
</file>